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2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6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7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3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4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6.xml" ContentType="application/vnd.openxmlformats-officedocument.themeOverride+xml"/>
  <Override PartName="/ppt/charts/chart15.xml" ContentType="application/vnd.openxmlformats-officedocument.drawingml.chart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87" r:id="rId3"/>
    <p:sldMasterId id="2147483694" r:id="rId4"/>
    <p:sldMasterId id="2147483708" r:id="rId5"/>
    <p:sldMasterId id="2147483723" r:id="rId6"/>
    <p:sldMasterId id="2147483738" r:id="rId7"/>
    <p:sldMasterId id="2147483755" r:id="rId8"/>
    <p:sldMasterId id="2147483770" r:id="rId9"/>
    <p:sldMasterId id="2147483785" r:id="rId10"/>
    <p:sldMasterId id="2147483792" r:id="rId11"/>
    <p:sldMasterId id="2147483808" r:id="rId12"/>
    <p:sldMasterId id="2147483824" r:id="rId13"/>
    <p:sldMasterId id="2147483840" r:id="rId14"/>
    <p:sldMasterId id="2147483855" r:id="rId15"/>
    <p:sldMasterId id="2147483868" r:id="rId16"/>
    <p:sldMasterId id="2147483884" r:id="rId17"/>
  </p:sldMasterIdLst>
  <p:notesMasterIdLst>
    <p:notesMasterId r:id="rId33"/>
  </p:notesMasterIdLst>
  <p:handoutMasterIdLst>
    <p:handoutMasterId r:id="rId34"/>
  </p:handoutMasterIdLst>
  <p:sldIdLst>
    <p:sldId id="293" r:id="rId18"/>
    <p:sldId id="347" r:id="rId19"/>
    <p:sldId id="365" r:id="rId20"/>
    <p:sldId id="350" r:id="rId21"/>
    <p:sldId id="352" r:id="rId22"/>
    <p:sldId id="353" r:id="rId23"/>
    <p:sldId id="373" r:id="rId24"/>
    <p:sldId id="375" r:id="rId25"/>
    <p:sldId id="374" r:id="rId26"/>
    <p:sldId id="376" r:id="rId27"/>
    <p:sldId id="377" r:id="rId28"/>
    <p:sldId id="378" r:id="rId29"/>
    <p:sldId id="379" r:id="rId30"/>
    <p:sldId id="361" r:id="rId31"/>
    <p:sldId id="284" r:id="rId32"/>
  </p:sldIdLst>
  <p:sldSz cx="9144000" cy="6858000" type="screen4x3"/>
  <p:notesSz cx="6858000" cy="9926638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onida Špirić" initials="SŠ" lastIdx="4" clrIdx="0">
    <p:extLst>
      <p:ext uri="{19B8F6BF-5375-455C-9EA6-DF929625EA0E}">
        <p15:presenceInfo xmlns:p15="http://schemas.microsoft.com/office/powerpoint/2012/main" userId="S-1-5-21-1973834663-436621203-1861840742-52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7663"/>
    <a:srgbClr val="FFC000"/>
    <a:srgbClr val="000000"/>
    <a:srgbClr val="002060"/>
    <a:srgbClr val="D2E0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5" autoAdjust="0"/>
    <p:restoredTop sz="90844" autoAdjust="0"/>
  </p:normalViewPr>
  <p:slideViewPr>
    <p:cSldViewPr snapToGrid="0">
      <p:cViewPr varScale="1">
        <p:scale>
          <a:sx n="101" d="100"/>
          <a:sy n="101" d="100"/>
        </p:scale>
        <p:origin x="1458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theme" Target="theme/theme1.xml"/><Relationship Id="rId21" Type="http://schemas.openxmlformats.org/officeDocument/2006/relationships/slide" Target="slides/slide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tags" Target="tags/tag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nidas\AppData\Local\Microsoft\Windows\INetCache\Content.Outlook\7E4O35OH\20191010%20Pojedinacne%20emisije%20prema%20EBRD%202003%20-%202018%20final%20-%20Copy%20(Autosaved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nidas\AppData\Local\Microsoft\Windows\INetCache\Content.Outlook\7E4O35OH\20191010%20Pojedinacne%20emisije%20prema%20EBRD%202003%20-%202018%20final%20-%20Copy%20(Autosaved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8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nidas\AppData\Local\Microsoft\Windows\INetCache\Content.Outlook\7E4O35OH\20191010%20Pojedinacne%20emisije%20prema%20EBRD%202003%20-%202018%20final%20-%20Copy%20(Autosaved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nidas\AppData\Local\Microsoft\Windows\INetCache\Content.Outlook\7E4O35OH\20191010%20Pojedinacne%20emisije%20prema%20EBRD%202003%20-%202018%20final%20-%20Copy%20(Autosaved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simonidas\AppData\Local\Microsoft\Windows\INetCache\Content.Outlook\7E4O35OH\20191010%20Pojedinacne%20emisije%20prema%20EBRD%202003%20-%202018%20final%20-%20Copy%20(Autosaved)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558697514995721E-2"/>
          <c:y val="2.8555738605162001E-2"/>
          <c:w val="0.91088260497000861"/>
          <c:h val="0.942888522789676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40</c:v>
                </c:pt>
                <c:pt idx="1">
                  <c:v>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19-4B12-A5B6-1B3552EF4586}"/>
            </c:ext>
          </c:extLst>
        </c:ser>
        <c:ser>
          <c:idx val="1"/>
          <c:order val="1"/>
          <c:spPr>
            <a:solidFill>
              <a:srgbClr val="1F497D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986</c:v>
                </c:pt>
                <c:pt idx="1">
                  <c:v>11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19-4B12-A5B6-1B3552EF4586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336</c:v>
                </c:pt>
                <c:pt idx="1">
                  <c:v>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19-4B12-A5B6-1B3552EF4586}"/>
            </c:ext>
          </c:extLst>
        </c:ser>
        <c:ser>
          <c:idx val="3"/>
          <c:order val="3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4079</c:v>
                </c:pt>
                <c:pt idx="1">
                  <c:v>22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19-4B12-A5B6-1B3552EF45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1541520"/>
        <c:axId val="811537208"/>
      </c:barChart>
      <c:catAx>
        <c:axId val="811541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11537208"/>
        <c:crosses val="min"/>
        <c:auto val="0"/>
        <c:lblAlgn val="ctr"/>
        <c:lblOffset val="100"/>
        <c:noMultiLvlLbl val="0"/>
      </c:catAx>
      <c:valAx>
        <c:axId val="811537208"/>
        <c:scaling>
          <c:orientation val="minMax"/>
          <c:max val="349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1541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65868376390721E-2"/>
          <c:y val="2.1523178807947019E-2"/>
          <c:w val="0.94606826324721849"/>
          <c:h val="0.91763245033112584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2:$AB$2</c:f>
              <c:numCache>
                <c:formatCode>General</c:formatCode>
                <c:ptCount val="28"/>
                <c:pt idx="0">
                  <c:v>10308</c:v>
                </c:pt>
                <c:pt idx="1">
                  <c:v>9182</c:v>
                </c:pt>
                <c:pt idx="2">
                  <c:v>8715</c:v>
                </c:pt>
                <c:pt idx="3">
                  <c:v>9851</c:v>
                </c:pt>
                <c:pt idx="4">
                  <c:v>10680</c:v>
                </c:pt>
                <c:pt idx="5">
                  <c:v>10948</c:v>
                </c:pt>
                <c:pt idx="6">
                  <c:v>10753</c:v>
                </c:pt>
                <c:pt idx="7">
                  <c:v>10809</c:v>
                </c:pt>
                <c:pt idx="8">
                  <c:v>11190</c:v>
                </c:pt>
                <c:pt idx="9">
                  <c:v>9917</c:v>
                </c:pt>
                <c:pt idx="10">
                  <c:v>8984</c:v>
                </c:pt>
                <c:pt idx="11">
                  <c:v>8194</c:v>
                </c:pt>
                <c:pt idx="12">
                  <c:v>8316</c:v>
                </c:pt>
                <c:pt idx="13">
                  <c:v>10012</c:v>
                </c:pt>
                <c:pt idx="14">
                  <c:v>9845</c:v>
                </c:pt>
                <c:pt idx="15">
                  <c:v>9421</c:v>
                </c:pt>
                <c:pt idx="16">
                  <c:v>9607</c:v>
                </c:pt>
                <c:pt idx="17">
                  <c:v>11938</c:v>
                </c:pt>
                <c:pt idx="18">
                  <c:v>8228</c:v>
                </c:pt>
                <c:pt idx="19">
                  <c:v>6964</c:v>
                </c:pt>
                <c:pt idx="20">
                  <c:v>7227</c:v>
                </c:pt>
                <c:pt idx="21">
                  <c:v>8237</c:v>
                </c:pt>
                <c:pt idx="22">
                  <c:v>5675</c:v>
                </c:pt>
                <c:pt idx="23">
                  <c:v>4233</c:v>
                </c:pt>
                <c:pt idx="24">
                  <c:v>3733</c:v>
                </c:pt>
                <c:pt idx="25">
                  <c:v>1372</c:v>
                </c:pt>
                <c:pt idx="26">
                  <c:v>1171</c:v>
                </c:pt>
                <c:pt idx="27">
                  <c:v>44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1C3-4C01-BA16-92044BF51D91}"/>
            </c:ext>
          </c:extLst>
        </c:ser>
        <c:ser>
          <c:idx val="1"/>
          <c:order val="1"/>
          <c:spPr>
            <a:ln w="28575" algn="ctr">
              <a:solidFill>
                <a:srgbClr val="029995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3:$AB$3</c:f>
              <c:numCache>
                <c:formatCode>General</c:formatCode>
                <c:ptCount val="28"/>
                <c:pt idx="0">
                  <c:v>95430.881208467486</c:v>
                </c:pt>
                <c:pt idx="1">
                  <c:v>91775.940604233736</c:v>
                </c:pt>
                <c:pt idx="2">
                  <c:v>88121</c:v>
                </c:pt>
                <c:pt idx="3">
                  <c:v>84900</c:v>
                </c:pt>
                <c:pt idx="4">
                  <c:v>31912</c:v>
                </c:pt>
                <c:pt idx="5">
                  <c:v>25382</c:v>
                </c:pt>
                <c:pt idx="6">
                  <c:v>28668</c:v>
                </c:pt>
                <c:pt idx="7">
                  <c:v>18071</c:v>
                </c:pt>
                <c:pt idx="8">
                  <c:v>12068</c:v>
                </c:pt>
                <c:pt idx="9">
                  <c:v>4892</c:v>
                </c:pt>
                <c:pt idx="10">
                  <c:v>3533</c:v>
                </c:pt>
                <c:pt idx="11">
                  <c:v>4365</c:v>
                </c:pt>
                <c:pt idx="12">
                  <c:v>3888</c:v>
                </c:pt>
                <c:pt idx="13">
                  <c:v>3573</c:v>
                </c:pt>
                <c:pt idx="14">
                  <c:v>3828</c:v>
                </c:pt>
                <c:pt idx="15">
                  <c:v>3648</c:v>
                </c:pt>
                <c:pt idx="16">
                  <c:v>3423</c:v>
                </c:pt>
                <c:pt idx="17">
                  <c:v>3118</c:v>
                </c:pt>
                <c:pt idx="18">
                  <c:v>2745</c:v>
                </c:pt>
                <c:pt idx="19">
                  <c:v>2614</c:v>
                </c:pt>
                <c:pt idx="20">
                  <c:v>2876</c:v>
                </c:pt>
                <c:pt idx="21">
                  <c:v>2978</c:v>
                </c:pt>
                <c:pt idx="22">
                  <c:v>2839</c:v>
                </c:pt>
                <c:pt idx="23">
                  <c:v>2666</c:v>
                </c:pt>
                <c:pt idx="24">
                  <c:v>2463</c:v>
                </c:pt>
                <c:pt idx="25">
                  <c:v>2297</c:v>
                </c:pt>
                <c:pt idx="26">
                  <c:v>1942</c:v>
                </c:pt>
                <c:pt idx="27">
                  <c:v>194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1C3-4C01-BA16-92044BF51D91}"/>
            </c:ext>
          </c:extLst>
        </c:ser>
        <c:ser>
          <c:idx val="2"/>
          <c:order val="2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4:$AB$4</c:f>
              <c:numCache>
                <c:formatCode>General</c:formatCode>
                <c:ptCount val="28"/>
                <c:pt idx="5">
                  <c:v>16398</c:v>
                </c:pt>
                <c:pt idx="6">
                  <c:v>15588</c:v>
                </c:pt>
                <c:pt idx="7">
                  <c:v>13476</c:v>
                </c:pt>
                <c:pt idx="8">
                  <c:v>12599</c:v>
                </c:pt>
                <c:pt idx="9">
                  <c:v>11322</c:v>
                </c:pt>
                <c:pt idx="10">
                  <c:v>10943</c:v>
                </c:pt>
                <c:pt idx="11">
                  <c:v>11070</c:v>
                </c:pt>
                <c:pt idx="12">
                  <c:v>10510</c:v>
                </c:pt>
                <c:pt idx="13">
                  <c:v>11018</c:v>
                </c:pt>
                <c:pt idx="14">
                  <c:v>11036</c:v>
                </c:pt>
                <c:pt idx="15">
                  <c:v>10569</c:v>
                </c:pt>
                <c:pt idx="16">
                  <c:v>10453</c:v>
                </c:pt>
                <c:pt idx="17">
                  <c:v>10455</c:v>
                </c:pt>
                <c:pt idx="18">
                  <c:v>9513</c:v>
                </c:pt>
                <c:pt idx="19">
                  <c:v>8752</c:v>
                </c:pt>
                <c:pt idx="20">
                  <c:v>8599</c:v>
                </c:pt>
                <c:pt idx="21">
                  <c:v>8252</c:v>
                </c:pt>
                <c:pt idx="22">
                  <c:v>7215</c:v>
                </c:pt>
                <c:pt idx="23">
                  <c:v>6744</c:v>
                </c:pt>
                <c:pt idx="24">
                  <c:v>6433</c:v>
                </c:pt>
                <c:pt idx="25">
                  <c:v>6233</c:v>
                </c:pt>
                <c:pt idx="26">
                  <c:v>5879</c:v>
                </c:pt>
                <c:pt idx="27">
                  <c:v>55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1C3-4C01-BA16-92044BF51D91}"/>
            </c:ext>
          </c:extLst>
        </c:ser>
        <c:ser>
          <c:idx val="3"/>
          <c:order val="3"/>
          <c:spPr>
            <a:ln w="28575" algn="ctr">
              <a:solidFill>
                <a:srgbClr val="FFC00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5:$AB$5</c:f>
              <c:numCache>
                <c:formatCode>General</c:formatCode>
                <c:ptCount val="28"/>
                <c:pt idx="0">
                  <c:v>39141</c:v>
                </c:pt>
                <c:pt idx="1">
                  <c:v>38739</c:v>
                </c:pt>
                <c:pt idx="2">
                  <c:v>37347</c:v>
                </c:pt>
                <c:pt idx="3">
                  <c:v>34851</c:v>
                </c:pt>
                <c:pt idx="4">
                  <c:v>34215</c:v>
                </c:pt>
                <c:pt idx="5">
                  <c:v>31181</c:v>
                </c:pt>
                <c:pt idx="6">
                  <c:v>32548</c:v>
                </c:pt>
                <c:pt idx="7">
                  <c:v>31616</c:v>
                </c:pt>
                <c:pt idx="8">
                  <c:v>30225</c:v>
                </c:pt>
                <c:pt idx="9">
                  <c:v>29423</c:v>
                </c:pt>
                <c:pt idx="10">
                  <c:v>29145</c:v>
                </c:pt>
                <c:pt idx="11">
                  <c:v>29652</c:v>
                </c:pt>
                <c:pt idx="12">
                  <c:v>28600</c:v>
                </c:pt>
                <c:pt idx="13">
                  <c:v>29712</c:v>
                </c:pt>
                <c:pt idx="14">
                  <c:v>29569</c:v>
                </c:pt>
                <c:pt idx="15">
                  <c:v>29770</c:v>
                </c:pt>
                <c:pt idx="16">
                  <c:v>28954</c:v>
                </c:pt>
                <c:pt idx="17">
                  <c:v>27370</c:v>
                </c:pt>
                <c:pt idx="18">
                  <c:v>19409</c:v>
                </c:pt>
                <c:pt idx="19">
                  <c:v>16516</c:v>
                </c:pt>
                <c:pt idx="20">
                  <c:v>17600</c:v>
                </c:pt>
                <c:pt idx="21">
                  <c:v>16076</c:v>
                </c:pt>
                <c:pt idx="22">
                  <c:v>14731</c:v>
                </c:pt>
                <c:pt idx="23">
                  <c:v>14009</c:v>
                </c:pt>
                <c:pt idx="24">
                  <c:v>12489</c:v>
                </c:pt>
                <c:pt idx="25">
                  <c:v>12174</c:v>
                </c:pt>
                <c:pt idx="26">
                  <c:v>12198</c:v>
                </c:pt>
                <c:pt idx="27">
                  <c:v>124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1C3-4C01-BA16-92044BF51D91}"/>
            </c:ext>
          </c:extLst>
        </c:ser>
        <c:ser>
          <c:idx val="4"/>
          <c:order val="4"/>
          <c:spPr>
            <a:ln w="28575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6:$AB$6</c:f>
              <c:numCache>
                <c:formatCode>General</c:formatCode>
                <c:ptCount val="28"/>
                <c:pt idx="5">
                  <c:v>30683</c:v>
                </c:pt>
                <c:pt idx="6">
                  <c:v>30781</c:v>
                </c:pt>
                <c:pt idx="7">
                  <c:v>25763</c:v>
                </c:pt>
                <c:pt idx="8">
                  <c:v>20434</c:v>
                </c:pt>
                <c:pt idx="9">
                  <c:v>20608</c:v>
                </c:pt>
                <c:pt idx="10">
                  <c:v>21693</c:v>
                </c:pt>
                <c:pt idx="11">
                  <c:v>22448</c:v>
                </c:pt>
                <c:pt idx="12">
                  <c:v>22485</c:v>
                </c:pt>
                <c:pt idx="13">
                  <c:v>25643</c:v>
                </c:pt>
                <c:pt idx="14">
                  <c:v>24045</c:v>
                </c:pt>
                <c:pt idx="15">
                  <c:v>21634</c:v>
                </c:pt>
                <c:pt idx="16">
                  <c:v>21474</c:v>
                </c:pt>
                <c:pt idx="17">
                  <c:v>15026</c:v>
                </c:pt>
                <c:pt idx="18">
                  <c:v>14400</c:v>
                </c:pt>
                <c:pt idx="19">
                  <c:v>11529</c:v>
                </c:pt>
                <c:pt idx="20">
                  <c:v>9894</c:v>
                </c:pt>
                <c:pt idx="21">
                  <c:v>11737</c:v>
                </c:pt>
                <c:pt idx="22">
                  <c:v>9154</c:v>
                </c:pt>
                <c:pt idx="23">
                  <c:v>7744</c:v>
                </c:pt>
                <c:pt idx="24">
                  <c:v>6601</c:v>
                </c:pt>
                <c:pt idx="25">
                  <c:v>5074</c:v>
                </c:pt>
                <c:pt idx="26">
                  <c:v>4132</c:v>
                </c:pt>
                <c:pt idx="27">
                  <c:v>42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81C3-4C01-BA16-92044BF51D91}"/>
            </c:ext>
          </c:extLst>
        </c:ser>
        <c:ser>
          <c:idx val="5"/>
          <c:order val="5"/>
          <c:spPr>
            <a:ln>
              <a:noFill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7:$AB$7</c:f>
              <c:numCache>
                <c:formatCode>General</c:formatCode>
                <c:ptCount val="28"/>
                <c:pt idx="0">
                  <c:v>70000</c:v>
                </c:pt>
                <c:pt idx="1">
                  <c:v>70000</c:v>
                </c:pt>
                <c:pt idx="2">
                  <c:v>70000</c:v>
                </c:pt>
                <c:pt idx="3">
                  <c:v>70000</c:v>
                </c:pt>
                <c:pt idx="4">
                  <c:v>70000</c:v>
                </c:pt>
                <c:pt idx="5">
                  <c:v>70000</c:v>
                </c:pt>
                <c:pt idx="6">
                  <c:v>70000</c:v>
                </c:pt>
                <c:pt idx="7">
                  <c:v>70000</c:v>
                </c:pt>
                <c:pt idx="8">
                  <c:v>70000</c:v>
                </c:pt>
                <c:pt idx="9">
                  <c:v>70000</c:v>
                </c:pt>
                <c:pt idx="10">
                  <c:v>70000</c:v>
                </c:pt>
                <c:pt idx="11">
                  <c:v>70000</c:v>
                </c:pt>
                <c:pt idx="12">
                  <c:v>69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81C3-4C01-BA16-92044BF51D91}"/>
            </c:ext>
          </c:extLst>
        </c:ser>
        <c:ser>
          <c:idx val="6"/>
          <c:order val="6"/>
          <c:spPr>
            <a:ln>
              <a:noFill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8:$AB$8</c:f>
              <c:numCache>
                <c:formatCode>General</c:formatCode>
                <c:ptCount val="28"/>
                <c:pt idx="13">
                  <c:v>66621.72</c:v>
                </c:pt>
                <c:pt idx="14">
                  <c:v>65686</c:v>
                </c:pt>
                <c:pt idx="15">
                  <c:v>34983</c:v>
                </c:pt>
                <c:pt idx="16">
                  <c:v>19380.5</c:v>
                </c:pt>
                <c:pt idx="17">
                  <c:v>12197</c:v>
                </c:pt>
                <c:pt idx="18">
                  <c:v>23600</c:v>
                </c:pt>
                <c:pt idx="19">
                  <c:v>19327</c:v>
                </c:pt>
                <c:pt idx="20">
                  <c:v>18369</c:v>
                </c:pt>
                <c:pt idx="21">
                  <c:v>22814.84</c:v>
                </c:pt>
                <c:pt idx="22">
                  <c:v>21988.5</c:v>
                </c:pt>
                <c:pt idx="23">
                  <c:v>16241.19</c:v>
                </c:pt>
                <c:pt idx="24">
                  <c:v>8513.43</c:v>
                </c:pt>
                <c:pt idx="25">
                  <c:v>11849.93</c:v>
                </c:pt>
                <c:pt idx="26">
                  <c:v>12429.19</c:v>
                </c:pt>
                <c:pt idx="27">
                  <c:v>9453.368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81C3-4C01-BA16-92044BF51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1555240"/>
        <c:axId val="811557200"/>
      </c:scatterChart>
      <c:valAx>
        <c:axId val="811555240"/>
        <c:scaling>
          <c:orientation val="minMax"/>
          <c:max val="2017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811557200"/>
        <c:crosses val="min"/>
        <c:crossBetween val="midCat"/>
        <c:majorUnit val="1"/>
      </c:valAx>
      <c:valAx>
        <c:axId val="811557200"/>
        <c:scaling>
          <c:orientation val="minMax"/>
          <c:max val="98803.88120846748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11555240"/>
        <c:crosses val="min"/>
        <c:crossBetween val="midCat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595033655624822E-3"/>
          <c:y val="9.2388372222124343E-2"/>
          <c:w val="0.96679872314115922"/>
          <c:h val="0.90761159438117123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'sl4'!$B$3:$AC$3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NOx!$A$2:$AB$2</c:f>
              <c:numCache>
                <c:formatCode>General</c:formatCode>
                <c:ptCount val="28"/>
                <c:pt idx="13">
                  <c:v>43829.78</c:v>
                </c:pt>
                <c:pt idx="14">
                  <c:v>46762</c:v>
                </c:pt>
                <c:pt idx="15">
                  <c:v>36398</c:v>
                </c:pt>
                <c:pt idx="16">
                  <c:v>41419</c:v>
                </c:pt>
                <c:pt idx="17">
                  <c:v>45015</c:v>
                </c:pt>
                <c:pt idx="18">
                  <c:v>59112</c:v>
                </c:pt>
                <c:pt idx="19">
                  <c:v>55855</c:v>
                </c:pt>
                <c:pt idx="20">
                  <c:v>43106</c:v>
                </c:pt>
                <c:pt idx="21">
                  <c:v>52835.49</c:v>
                </c:pt>
                <c:pt idx="22">
                  <c:v>44813</c:v>
                </c:pt>
                <c:pt idx="23">
                  <c:v>48479.91</c:v>
                </c:pt>
                <c:pt idx="24">
                  <c:v>41986.38</c:v>
                </c:pt>
                <c:pt idx="25">
                  <c:v>48571.94</c:v>
                </c:pt>
                <c:pt idx="26">
                  <c:v>43992.788</c:v>
                </c:pt>
                <c:pt idx="27">
                  <c:v>42430.4714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43-40AE-A04D-015F3910DE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1593656"/>
        <c:axId val="811594048"/>
      </c:lineChart>
      <c:catAx>
        <c:axId val="8115936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1594048"/>
        <c:crosses val="autoZero"/>
        <c:auto val="1"/>
        <c:lblAlgn val="ctr"/>
        <c:lblOffset val="100"/>
        <c:noMultiLvlLbl val="0"/>
      </c:catAx>
      <c:valAx>
        <c:axId val="811594048"/>
        <c:scaling>
          <c:orientation val="minMax"/>
          <c:max val="550000"/>
        </c:scaling>
        <c:delete val="1"/>
        <c:axPos val="l"/>
        <c:numFmt formatCode="General" sourceLinked="1"/>
        <c:majorTickMark val="out"/>
        <c:minorTickMark val="none"/>
        <c:tickLblPos val="nextTo"/>
        <c:crossAx val="811593656"/>
        <c:crosses val="autoZero"/>
        <c:crossBetween val="between"/>
        <c:minorUnit val="50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609322184664651E-2"/>
          <c:y val="2.4380652772316162E-2"/>
          <c:w val="0.89895036470378942"/>
          <c:h val="0.917813605977192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2:$AB$2</c:f>
              <c:numCache>
                <c:formatCode>General</c:formatCode>
                <c:ptCount val="28"/>
                <c:pt idx="0">
                  <c:v>57036</c:v>
                </c:pt>
                <c:pt idx="1">
                  <c:v>49372</c:v>
                </c:pt>
                <c:pt idx="2">
                  <c:v>40934</c:v>
                </c:pt>
                <c:pt idx="3">
                  <c:v>43798</c:v>
                </c:pt>
                <c:pt idx="4">
                  <c:v>42136</c:v>
                </c:pt>
                <c:pt idx="5">
                  <c:v>37050</c:v>
                </c:pt>
                <c:pt idx="6">
                  <c:v>35697</c:v>
                </c:pt>
                <c:pt idx="7">
                  <c:v>36822</c:v>
                </c:pt>
                <c:pt idx="8">
                  <c:v>40812</c:v>
                </c:pt>
                <c:pt idx="9">
                  <c:v>35504</c:v>
                </c:pt>
                <c:pt idx="10">
                  <c:v>36208</c:v>
                </c:pt>
                <c:pt idx="11">
                  <c:v>41362</c:v>
                </c:pt>
                <c:pt idx="12">
                  <c:v>44128</c:v>
                </c:pt>
                <c:pt idx="13">
                  <c:v>45922</c:v>
                </c:pt>
                <c:pt idx="14">
                  <c:v>44147</c:v>
                </c:pt>
                <c:pt idx="15">
                  <c:v>44762</c:v>
                </c:pt>
                <c:pt idx="16">
                  <c:v>46614</c:v>
                </c:pt>
                <c:pt idx="17">
                  <c:v>54788</c:v>
                </c:pt>
                <c:pt idx="18">
                  <c:v>56251</c:v>
                </c:pt>
                <c:pt idx="19">
                  <c:v>49258</c:v>
                </c:pt>
                <c:pt idx="20">
                  <c:v>48871</c:v>
                </c:pt>
                <c:pt idx="21">
                  <c:v>53626</c:v>
                </c:pt>
                <c:pt idx="22">
                  <c:v>47184</c:v>
                </c:pt>
                <c:pt idx="23">
                  <c:v>36518</c:v>
                </c:pt>
                <c:pt idx="24">
                  <c:v>38871</c:v>
                </c:pt>
                <c:pt idx="25">
                  <c:v>31197</c:v>
                </c:pt>
                <c:pt idx="26">
                  <c:v>26513</c:v>
                </c:pt>
                <c:pt idx="27">
                  <c:v>1790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0CE-4CD3-9872-CE9233C83014}"/>
            </c:ext>
          </c:extLst>
        </c:ser>
        <c:ser>
          <c:idx val="1"/>
          <c:order val="1"/>
          <c:spPr>
            <a:ln w="28575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3:$AB$3</c:f>
              <c:numCache>
                <c:formatCode>General</c:formatCode>
                <c:ptCount val="28"/>
                <c:pt idx="0">
                  <c:v>324097</c:v>
                </c:pt>
                <c:pt idx="1">
                  <c:v>309487</c:v>
                </c:pt>
                <c:pt idx="2">
                  <c:v>275624</c:v>
                </c:pt>
                <c:pt idx="3">
                  <c:v>182275</c:v>
                </c:pt>
                <c:pt idx="4">
                  <c:v>119975</c:v>
                </c:pt>
                <c:pt idx="5">
                  <c:v>115946</c:v>
                </c:pt>
                <c:pt idx="6">
                  <c:v>110117</c:v>
                </c:pt>
                <c:pt idx="7">
                  <c:v>100675</c:v>
                </c:pt>
                <c:pt idx="8">
                  <c:v>87494</c:v>
                </c:pt>
                <c:pt idx="9">
                  <c:v>82838</c:v>
                </c:pt>
                <c:pt idx="10">
                  <c:v>95683</c:v>
                </c:pt>
                <c:pt idx="11">
                  <c:v>98496</c:v>
                </c:pt>
                <c:pt idx="12">
                  <c:v>96752</c:v>
                </c:pt>
                <c:pt idx="13">
                  <c:v>93486</c:v>
                </c:pt>
                <c:pt idx="14">
                  <c:v>94864</c:v>
                </c:pt>
                <c:pt idx="15">
                  <c:v>90953</c:v>
                </c:pt>
                <c:pt idx="16">
                  <c:v>91599</c:v>
                </c:pt>
                <c:pt idx="17">
                  <c:v>96281</c:v>
                </c:pt>
                <c:pt idx="18">
                  <c:v>84172</c:v>
                </c:pt>
                <c:pt idx="19">
                  <c:v>79936</c:v>
                </c:pt>
                <c:pt idx="20">
                  <c:v>80608</c:v>
                </c:pt>
                <c:pt idx="21">
                  <c:v>75020</c:v>
                </c:pt>
                <c:pt idx="22">
                  <c:v>67376</c:v>
                </c:pt>
                <c:pt idx="23">
                  <c:v>58372</c:v>
                </c:pt>
                <c:pt idx="24">
                  <c:v>54488</c:v>
                </c:pt>
                <c:pt idx="25">
                  <c:v>50775</c:v>
                </c:pt>
                <c:pt idx="26">
                  <c:v>44648</c:v>
                </c:pt>
                <c:pt idx="27">
                  <c:v>419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0CE-4CD3-9872-CE9233C83014}"/>
            </c:ext>
          </c:extLst>
        </c:ser>
        <c:ser>
          <c:idx val="2"/>
          <c:order val="2"/>
          <c:spPr>
            <a:ln w="28575" algn="ctr">
              <a:solidFill>
                <a:srgbClr val="4F81BD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4:$AB$4</c:f>
              <c:numCache>
                <c:formatCode>General</c:formatCode>
                <c:ptCount val="28"/>
                <c:pt idx="0">
                  <c:v>464365</c:v>
                </c:pt>
                <c:pt idx="1">
                  <c:v>414748</c:v>
                </c:pt>
                <c:pt idx="2">
                  <c:v>364414</c:v>
                </c:pt>
                <c:pt idx="3">
                  <c:v>325807</c:v>
                </c:pt>
                <c:pt idx="4">
                  <c:v>295776</c:v>
                </c:pt>
                <c:pt idx="5">
                  <c:v>266973</c:v>
                </c:pt>
                <c:pt idx="6">
                  <c:v>266573</c:v>
                </c:pt>
                <c:pt idx="7">
                  <c:v>247464</c:v>
                </c:pt>
                <c:pt idx="8">
                  <c:v>242486</c:v>
                </c:pt>
                <c:pt idx="9">
                  <c:v>228905</c:v>
                </c:pt>
                <c:pt idx="10">
                  <c:v>229447</c:v>
                </c:pt>
                <c:pt idx="11">
                  <c:v>238133</c:v>
                </c:pt>
                <c:pt idx="12">
                  <c:v>239666</c:v>
                </c:pt>
                <c:pt idx="13">
                  <c:v>266126</c:v>
                </c:pt>
                <c:pt idx="14">
                  <c:v>249023</c:v>
                </c:pt>
                <c:pt idx="15">
                  <c:v>249645</c:v>
                </c:pt>
                <c:pt idx="16">
                  <c:v>257979</c:v>
                </c:pt>
                <c:pt idx="17">
                  <c:v>273818</c:v>
                </c:pt>
                <c:pt idx="18">
                  <c:v>267583</c:v>
                </c:pt>
                <c:pt idx="19">
                  <c:v>261476</c:v>
                </c:pt>
                <c:pt idx="20">
                  <c:v>275489</c:v>
                </c:pt>
                <c:pt idx="21">
                  <c:v>280635</c:v>
                </c:pt>
                <c:pt idx="22">
                  <c:v>283284</c:v>
                </c:pt>
                <c:pt idx="23">
                  <c:v>287434</c:v>
                </c:pt>
                <c:pt idx="24">
                  <c:v>278091</c:v>
                </c:pt>
                <c:pt idx="25">
                  <c:v>273825</c:v>
                </c:pt>
                <c:pt idx="26">
                  <c:v>269088</c:v>
                </c:pt>
                <c:pt idx="27">
                  <c:v>2578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0CE-4CD3-9872-CE9233C83014}"/>
            </c:ext>
          </c:extLst>
        </c:ser>
        <c:ser>
          <c:idx val="3"/>
          <c:order val="3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5:$AB$5</c:f>
              <c:numCache>
                <c:formatCode>General</c:formatCode>
                <c:ptCount val="28"/>
                <c:pt idx="0">
                  <c:v>542089</c:v>
                </c:pt>
                <c:pt idx="1">
                  <c:v>539758</c:v>
                </c:pt>
                <c:pt idx="2">
                  <c:v>529351</c:v>
                </c:pt>
                <c:pt idx="3">
                  <c:v>500984</c:v>
                </c:pt>
                <c:pt idx="4">
                  <c:v>488693</c:v>
                </c:pt>
                <c:pt idx="5">
                  <c:v>450877</c:v>
                </c:pt>
                <c:pt idx="6">
                  <c:v>442129</c:v>
                </c:pt>
                <c:pt idx="7">
                  <c:v>385316</c:v>
                </c:pt>
                <c:pt idx="8">
                  <c:v>330330</c:v>
                </c:pt>
                <c:pt idx="9">
                  <c:v>306084</c:v>
                </c:pt>
                <c:pt idx="10">
                  <c:v>285523</c:v>
                </c:pt>
                <c:pt idx="11">
                  <c:v>294492</c:v>
                </c:pt>
                <c:pt idx="12">
                  <c:v>285709</c:v>
                </c:pt>
                <c:pt idx="13">
                  <c:v>296125</c:v>
                </c:pt>
                <c:pt idx="14">
                  <c:v>287684</c:v>
                </c:pt>
                <c:pt idx="15">
                  <c:v>291230</c:v>
                </c:pt>
                <c:pt idx="16">
                  <c:v>297609</c:v>
                </c:pt>
                <c:pt idx="17">
                  <c:v>286602</c:v>
                </c:pt>
                <c:pt idx="18">
                  <c:v>259412</c:v>
                </c:pt>
                <c:pt idx="19">
                  <c:v>259580</c:v>
                </c:pt>
                <c:pt idx="20">
                  <c:v>278908</c:v>
                </c:pt>
                <c:pt idx="21">
                  <c:v>266951</c:v>
                </c:pt>
                <c:pt idx="22">
                  <c:v>253841</c:v>
                </c:pt>
                <c:pt idx="23">
                  <c:v>250622</c:v>
                </c:pt>
                <c:pt idx="24">
                  <c:v>224732</c:v>
                </c:pt>
                <c:pt idx="25">
                  <c:v>214496</c:v>
                </c:pt>
                <c:pt idx="26">
                  <c:v>191075</c:v>
                </c:pt>
                <c:pt idx="27">
                  <c:v>1800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0CE-4CD3-9872-CE9233C83014}"/>
            </c:ext>
          </c:extLst>
        </c:ser>
        <c:ser>
          <c:idx val="4"/>
          <c:order val="4"/>
          <c:spPr>
            <a:ln w="28575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6:$AB$6</c:f>
              <c:numCache>
                <c:formatCode>General</c:formatCode>
                <c:ptCount val="28"/>
                <c:pt idx="5">
                  <c:v>126966</c:v>
                </c:pt>
                <c:pt idx="6">
                  <c:v>130087</c:v>
                </c:pt>
                <c:pt idx="7">
                  <c:v>107990</c:v>
                </c:pt>
                <c:pt idx="8">
                  <c:v>90759</c:v>
                </c:pt>
                <c:pt idx="9">
                  <c:v>86204</c:v>
                </c:pt>
                <c:pt idx="10">
                  <c:v>87407</c:v>
                </c:pt>
                <c:pt idx="11">
                  <c:v>88885</c:v>
                </c:pt>
                <c:pt idx="12">
                  <c:v>86145</c:v>
                </c:pt>
                <c:pt idx="13">
                  <c:v>98511</c:v>
                </c:pt>
                <c:pt idx="14">
                  <c:v>90020</c:v>
                </c:pt>
                <c:pt idx="15">
                  <c:v>99237</c:v>
                </c:pt>
                <c:pt idx="16">
                  <c:v>105170</c:v>
                </c:pt>
                <c:pt idx="17">
                  <c:v>87695</c:v>
                </c:pt>
                <c:pt idx="18">
                  <c:v>86522</c:v>
                </c:pt>
                <c:pt idx="19">
                  <c:v>65563</c:v>
                </c:pt>
                <c:pt idx="20">
                  <c:v>56472</c:v>
                </c:pt>
                <c:pt idx="21">
                  <c:v>61037</c:v>
                </c:pt>
                <c:pt idx="22">
                  <c:v>56508</c:v>
                </c:pt>
                <c:pt idx="23">
                  <c:v>45422</c:v>
                </c:pt>
                <c:pt idx="24">
                  <c:v>44295</c:v>
                </c:pt>
                <c:pt idx="25">
                  <c:v>42404</c:v>
                </c:pt>
                <c:pt idx="26">
                  <c:v>36150</c:v>
                </c:pt>
                <c:pt idx="27">
                  <c:v>3828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0CE-4CD3-9872-CE9233C83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1588952"/>
        <c:axId val="811593264"/>
      </c:scatterChart>
      <c:valAx>
        <c:axId val="811588952"/>
        <c:scaling>
          <c:orientation val="minMax"/>
          <c:max val="2017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811593264"/>
        <c:crosses val="min"/>
        <c:crossBetween val="midCat"/>
        <c:majorUnit val="1"/>
      </c:valAx>
      <c:valAx>
        <c:axId val="811593264"/>
        <c:scaling>
          <c:orientation val="minMax"/>
          <c:max val="5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811588952"/>
        <c:crosses val="min"/>
        <c:crossBetween val="midCat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00000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sl4'!$B$3:$AC$3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'sl4'!$B$4:$AC$4</c:f>
              <c:numCache>
                <c:formatCode>General</c:formatCode>
                <c:ptCount val="28"/>
                <c:pt idx="0">
                  <c:v>97131</c:v>
                </c:pt>
                <c:pt idx="1">
                  <c:v>86106</c:v>
                </c:pt>
                <c:pt idx="2">
                  <c:v>81484</c:v>
                </c:pt>
                <c:pt idx="3">
                  <c:v>75760</c:v>
                </c:pt>
                <c:pt idx="4">
                  <c:v>69398</c:v>
                </c:pt>
                <c:pt idx="5">
                  <c:v>87947</c:v>
                </c:pt>
                <c:pt idx="6">
                  <c:v>85321</c:v>
                </c:pt>
                <c:pt idx="7">
                  <c:v>92306</c:v>
                </c:pt>
                <c:pt idx="8">
                  <c:v>91844</c:v>
                </c:pt>
                <c:pt idx="9">
                  <c:v>68545</c:v>
                </c:pt>
                <c:pt idx="10">
                  <c:v>77388</c:v>
                </c:pt>
                <c:pt idx="11">
                  <c:v>76098</c:v>
                </c:pt>
                <c:pt idx="12">
                  <c:v>79825</c:v>
                </c:pt>
                <c:pt idx="13">
                  <c:v>83564</c:v>
                </c:pt>
                <c:pt idx="14">
                  <c:v>85993</c:v>
                </c:pt>
                <c:pt idx="15">
                  <c:v>74671</c:v>
                </c:pt>
                <c:pt idx="16">
                  <c:v>78827</c:v>
                </c:pt>
                <c:pt idx="17">
                  <c:v>78688</c:v>
                </c:pt>
                <c:pt idx="18">
                  <c:v>81324</c:v>
                </c:pt>
                <c:pt idx="19">
                  <c:v>74638</c:v>
                </c:pt>
                <c:pt idx="20">
                  <c:v>68184</c:v>
                </c:pt>
                <c:pt idx="21">
                  <c:v>76884</c:v>
                </c:pt>
                <c:pt idx="22">
                  <c:v>71632</c:v>
                </c:pt>
                <c:pt idx="23">
                  <c:v>75406</c:v>
                </c:pt>
                <c:pt idx="24">
                  <c:v>59122</c:v>
                </c:pt>
                <c:pt idx="25">
                  <c:v>72252</c:v>
                </c:pt>
                <c:pt idx="26">
                  <c:v>71667</c:v>
                </c:pt>
                <c:pt idx="27">
                  <c:v>726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A8-4EA3-B98F-C18C71C6D7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1576408"/>
        <c:axId val="811598360"/>
      </c:lineChart>
      <c:catAx>
        <c:axId val="8115764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1598360"/>
        <c:crosses val="autoZero"/>
        <c:auto val="1"/>
        <c:lblAlgn val="ctr"/>
        <c:lblOffset val="100"/>
        <c:noMultiLvlLbl val="0"/>
      </c:catAx>
      <c:valAx>
        <c:axId val="811598360"/>
        <c:scaling>
          <c:orientation val="minMax"/>
          <c:max val="550000"/>
        </c:scaling>
        <c:delete val="1"/>
        <c:axPos val="l"/>
        <c:numFmt formatCode="General" sourceLinked="1"/>
        <c:majorTickMark val="none"/>
        <c:minorTickMark val="none"/>
        <c:tickLblPos val="nextTo"/>
        <c:crossAx val="811576408"/>
        <c:crosses val="autoZero"/>
        <c:crossBetween val="between"/>
        <c:minorUnit val="50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00000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sl5'!$B$1:$AC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'sl5'!$C$4:$AD$4</c:f>
              <c:numCache>
                <c:formatCode>General</c:formatCode>
                <c:ptCount val="28"/>
                <c:pt idx="0">
                  <c:v>518236</c:v>
                </c:pt>
                <c:pt idx="1">
                  <c:v>458942</c:v>
                </c:pt>
                <c:pt idx="2">
                  <c:v>421751</c:v>
                </c:pt>
                <c:pt idx="3">
                  <c:v>400157</c:v>
                </c:pt>
                <c:pt idx="4">
                  <c:v>367791</c:v>
                </c:pt>
                <c:pt idx="5">
                  <c:v>468236</c:v>
                </c:pt>
                <c:pt idx="6">
                  <c:v>452095</c:v>
                </c:pt>
                <c:pt idx="7">
                  <c:v>487922</c:v>
                </c:pt>
                <c:pt idx="8">
                  <c:v>488308</c:v>
                </c:pt>
                <c:pt idx="9">
                  <c:v>363676</c:v>
                </c:pt>
                <c:pt idx="10">
                  <c:v>411739</c:v>
                </c:pt>
                <c:pt idx="11">
                  <c:v>402309</c:v>
                </c:pt>
                <c:pt idx="12">
                  <c:v>420858</c:v>
                </c:pt>
                <c:pt idx="13">
                  <c:v>440609</c:v>
                </c:pt>
                <c:pt idx="14">
                  <c:v>450258</c:v>
                </c:pt>
                <c:pt idx="15">
                  <c:v>394294</c:v>
                </c:pt>
                <c:pt idx="16">
                  <c:v>418464</c:v>
                </c:pt>
                <c:pt idx="17">
                  <c:v>416303</c:v>
                </c:pt>
                <c:pt idx="18">
                  <c:v>431666</c:v>
                </c:pt>
                <c:pt idx="19">
                  <c:v>396242</c:v>
                </c:pt>
                <c:pt idx="20">
                  <c:v>360148</c:v>
                </c:pt>
                <c:pt idx="21">
                  <c:v>405905</c:v>
                </c:pt>
                <c:pt idx="22">
                  <c:v>377805</c:v>
                </c:pt>
                <c:pt idx="23">
                  <c:v>400880</c:v>
                </c:pt>
                <c:pt idx="24">
                  <c:v>313055</c:v>
                </c:pt>
                <c:pt idx="25">
                  <c:v>383297</c:v>
                </c:pt>
                <c:pt idx="26">
                  <c:v>379584</c:v>
                </c:pt>
                <c:pt idx="27">
                  <c:v>384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861-49D5-8323-9158B2EC9D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1545048"/>
        <c:axId val="811545832"/>
      </c:lineChart>
      <c:catAx>
        <c:axId val="8115450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1545832"/>
        <c:crosses val="autoZero"/>
        <c:auto val="1"/>
        <c:lblAlgn val="ctr"/>
        <c:lblOffset val="100"/>
        <c:noMultiLvlLbl val="0"/>
      </c:catAx>
      <c:valAx>
        <c:axId val="811545832"/>
        <c:scaling>
          <c:orientation val="minMax"/>
          <c:max val="2600000"/>
        </c:scaling>
        <c:delete val="1"/>
        <c:axPos val="l"/>
        <c:numFmt formatCode="General" sourceLinked="1"/>
        <c:majorTickMark val="out"/>
        <c:minorTickMark val="none"/>
        <c:tickLblPos val="nextTo"/>
        <c:crossAx val="811545048"/>
        <c:crosses val="autoZero"/>
        <c:crossBetween val="between"/>
        <c:majorUnit val="200000"/>
        <c:minorUnit val="200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703160868797452E-2"/>
          <c:y val="2.4371069182389939E-2"/>
          <c:w val="0.88804520572134915"/>
          <c:h val="0.9178459119496855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2:$AB$2</c:f>
              <c:numCache>
                <c:formatCode>General</c:formatCode>
                <c:ptCount val="28"/>
                <c:pt idx="0">
                  <c:v>829413</c:v>
                </c:pt>
                <c:pt idx="1">
                  <c:v>734219</c:v>
                </c:pt>
                <c:pt idx="2">
                  <c:v>693808</c:v>
                </c:pt>
                <c:pt idx="3">
                  <c:v>1015284</c:v>
                </c:pt>
                <c:pt idx="4">
                  <c:v>1152975</c:v>
                </c:pt>
                <c:pt idx="5">
                  <c:v>1122194</c:v>
                </c:pt>
                <c:pt idx="6">
                  <c:v>1093078</c:v>
                </c:pt>
                <c:pt idx="7">
                  <c:v>1050902</c:v>
                </c:pt>
                <c:pt idx="8">
                  <c:v>958527</c:v>
                </c:pt>
                <c:pt idx="9">
                  <c:v>725093</c:v>
                </c:pt>
                <c:pt idx="10">
                  <c:v>711914</c:v>
                </c:pt>
                <c:pt idx="11">
                  <c:v>725358</c:v>
                </c:pt>
                <c:pt idx="12">
                  <c:v>655142</c:v>
                </c:pt>
                <c:pt idx="13">
                  <c:v>713204</c:v>
                </c:pt>
                <c:pt idx="14">
                  <c:v>695698</c:v>
                </c:pt>
                <c:pt idx="15">
                  <c:v>690235</c:v>
                </c:pt>
                <c:pt idx="16">
                  <c:v>687457</c:v>
                </c:pt>
                <c:pt idx="17">
                  <c:v>757952</c:v>
                </c:pt>
                <c:pt idx="18">
                  <c:v>519950</c:v>
                </c:pt>
                <c:pt idx="19">
                  <c:v>398193</c:v>
                </c:pt>
                <c:pt idx="20">
                  <c:v>341408</c:v>
                </c:pt>
                <c:pt idx="21">
                  <c:v>431853</c:v>
                </c:pt>
                <c:pt idx="22">
                  <c:v>267697</c:v>
                </c:pt>
                <c:pt idx="23">
                  <c:v>137961</c:v>
                </c:pt>
                <c:pt idx="24">
                  <c:v>137029</c:v>
                </c:pt>
                <c:pt idx="25">
                  <c:v>94318</c:v>
                </c:pt>
                <c:pt idx="26">
                  <c:v>55666</c:v>
                </c:pt>
                <c:pt idx="27">
                  <c:v>475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626-4D78-B996-8AF7E9FD36FE}"/>
            </c:ext>
          </c:extLst>
        </c:ser>
        <c:ser>
          <c:idx val="1"/>
          <c:order val="1"/>
          <c:spPr>
            <a:ln w="28575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3:$AB$3</c:f>
              <c:numCache>
                <c:formatCode>General</c:formatCode>
                <c:ptCount val="28"/>
                <c:pt idx="0">
                  <c:v>1165142</c:v>
                </c:pt>
                <c:pt idx="1">
                  <c:v>1106319</c:v>
                </c:pt>
                <c:pt idx="2">
                  <c:v>906328</c:v>
                </c:pt>
                <c:pt idx="3">
                  <c:v>902229</c:v>
                </c:pt>
                <c:pt idx="4">
                  <c:v>803503</c:v>
                </c:pt>
                <c:pt idx="5">
                  <c:v>766786</c:v>
                </c:pt>
                <c:pt idx="6">
                  <c:v>647371</c:v>
                </c:pt>
                <c:pt idx="7">
                  <c:v>466194</c:v>
                </c:pt>
                <c:pt idx="8">
                  <c:v>259252</c:v>
                </c:pt>
                <c:pt idx="9">
                  <c:v>124566</c:v>
                </c:pt>
                <c:pt idx="10">
                  <c:v>137706</c:v>
                </c:pt>
                <c:pt idx="11">
                  <c:v>134353</c:v>
                </c:pt>
                <c:pt idx="12">
                  <c:v>133186</c:v>
                </c:pt>
                <c:pt idx="13">
                  <c:v>131020</c:v>
                </c:pt>
                <c:pt idx="14">
                  <c:v>126402</c:v>
                </c:pt>
                <c:pt idx="15">
                  <c:v>127756</c:v>
                </c:pt>
                <c:pt idx="16">
                  <c:v>126317</c:v>
                </c:pt>
                <c:pt idx="17">
                  <c:v>129670</c:v>
                </c:pt>
                <c:pt idx="18">
                  <c:v>107090</c:v>
                </c:pt>
                <c:pt idx="19">
                  <c:v>104868</c:v>
                </c:pt>
                <c:pt idx="20">
                  <c:v>103717</c:v>
                </c:pt>
                <c:pt idx="21">
                  <c:v>101798</c:v>
                </c:pt>
                <c:pt idx="22">
                  <c:v>94443</c:v>
                </c:pt>
                <c:pt idx="23">
                  <c:v>86128</c:v>
                </c:pt>
                <c:pt idx="24">
                  <c:v>80656</c:v>
                </c:pt>
                <c:pt idx="25">
                  <c:v>75320</c:v>
                </c:pt>
                <c:pt idx="26">
                  <c:v>58357</c:v>
                </c:pt>
                <c:pt idx="27">
                  <c:v>568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626-4D78-B996-8AF7E9FD36FE}"/>
            </c:ext>
          </c:extLst>
        </c:ser>
        <c:ser>
          <c:idx val="2"/>
          <c:order val="2"/>
          <c:spPr>
            <a:ln w="28575" algn="ctr">
              <a:solidFill>
                <a:srgbClr val="4F81BD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4:$AB$4</c:f>
              <c:numCache>
                <c:formatCode>General</c:formatCode>
                <c:ptCount val="28"/>
                <c:pt idx="0">
                  <c:v>2435308</c:v>
                </c:pt>
                <c:pt idx="1">
                  <c:v>1908758</c:v>
                </c:pt>
                <c:pt idx="2">
                  <c:v>1685655</c:v>
                </c:pt>
                <c:pt idx="3">
                  <c:v>1511635</c:v>
                </c:pt>
                <c:pt idx="4">
                  <c:v>1358815</c:v>
                </c:pt>
                <c:pt idx="5">
                  <c:v>1050591</c:v>
                </c:pt>
                <c:pt idx="6">
                  <c:v>876713</c:v>
                </c:pt>
                <c:pt idx="7">
                  <c:v>693615</c:v>
                </c:pt>
                <c:pt idx="8">
                  <c:v>520563</c:v>
                </c:pt>
                <c:pt idx="9">
                  <c:v>385390</c:v>
                </c:pt>
                <c:pt idx="10">
                  <c:v>265420</c:v>
                </c:pt>
                <c:pt idx="11">
                  <c:v>253528</c:v>
                </c:pt>
                <c:pt idx="12">
                  <c:v>227575</c:v>
                </c:pt>
                <c:pt idx="13">
                  <c:v>216205</c:v>
                </c:pt>
                <c:pt idx="14">
                  <c:v>193869</c:v>
                </c:pt>
                <c:pt idx="15">
                  <c:v>181953</c:v>
                </c:pt>
                <c:pt idx="16">
                  <c:v>185763</c:v>
                </c:pt>
                <c:pt idx="17">
                  <c:v>191178</c:v>
                </c:pt>
                <c:pt idx="18">
                  <c:v>177262</c:v>
                </c:pt>
                <c:pt idx="19">
                  <c:v>169387</c:v>
                </c:pt>
                <c:pt idx="20">
                  <c:v>177623</c:v>
                </c:pt>
                <c:pt idx="21">
                  <c:v>177927</c:v>
                </c:pt>
                <c:pt idx="22">
                  <c:v>184868</c:v>
                </c:pt>
                <c:pt idx="23">
                  <c:v>182812</c:v>
                </c:pt>
                <c:pt idx="24">
                  <c:v>170580</c:v>
                </c:pt>
                <c:pt idx="25">
                  <c:v>160438</c:v>
                </c:pt>
                <c:pt idx="26">
                  <c:v>141245</c:v>
                </c:pt>
                <c:pt idx="27">
                  <c:v>1309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626-4D78-B996-8AF7E9FD36FE}"/>
            </c:ext>
          </c:extLst>
        </c:ser>
        <c:ser>
          <c:idx val="3"/>
          <c:order val="3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5:$AB$5</c:f>
              <c:numCache>
                <c:formatCode>General</c:formatCode>
                <c:ptCount val="28"/>
                <c:pt idx="0">
                  <c:v>2164028</c:v>
                </c:pt>
                <c:pt idx="1">
                  <c:v>2049890</c:v>
                </c:pt>
                <c:pt idx="2">
                  <c:v>1827538</c:v>
                </c:pt>
                <c:pt idx="3">
                  <c:v>1699859</c:v>
                </c:pt>
                <c:pt idx="4">
                  <c:v>1637546</c:v>
                </c:pt>
                <c:pt idx="5">
                  <c:v>1473298</c:v>
                </c:pt>
                <c:pt idx="6">
                  <c:v>1469755</c:v>
                </c:pt>
                <c:pt idx="7">
                  <c:v>1348845</c:v>
                </c:pt>
                <c:pt idx="8">
                  <c:v>1249797</c:v>
                </c:pt>
                <c:pt idx="9">
                  <c:v>1114689</c:v>
                </c:pt>
                <c:pt idx="10">
                  <c:v>973130</c:v>
                </c:pt>
                <c:pt idx="11">
                  <c:v>962567</c:v>
                </c:pt>
                <c:pt idx="12">
                  <c:v>884076</c:v>
                </c:pt>
                <c:pt idx="13">
                  <c:v>880680</c:v>
                </c:pt>
                <c:pt idx="14">
                  <c:v>836658</c:v>
                </c:pt>
                <c:pt idx="15">
                  <c:v>820162</c:v>
                </c:pt>
                <c:pt idx="16">
                  <c:v>864843</c:v>
                </c:pt>
                <c:pt idx="17">
                  <c:v>814402</c:v>
                </c:pt>
                <c:pt idx="18">
                  <c:v>590613</c:v>
                </c:pt>
                <c:pt idx="19">
                  <c:v>473988</c:v>
                </c:pt>
                <c:pt idx="20">
                  <c:v>506953</c:v>
                </c:pt>
                <c:pt idx="21">
                  <c:v>478637</c:v>
                </c:pt>
                <c:pt idx="22">
                  <c:v>450331</c:v>
                </c:pt>
                <c:pt idx="23">
                  <c:v>434786</c:v>
                </c:pt>
                <c:pt idx="24">
                  <c:v>403059</c:v>
                </c:pt>
                <c:pt idx="25">
                  <c:v>398698</c:v>
                </c:pt>
                <c:pt idx="26">
                  <c:v>273648</c:v>
                </c:pt>
                <c:pt idx="27">
                  <c:v>2608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626-4D78-B996-8AF7E9FD36FE}"/>
            </c:ext>
          </c:extLst>
        </c:ser>
        <c:ser>
          <c:idx val="4"/>
          <c:order val="4"/>
          <c:spPr>
            <a:ln w="28575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6:$AB$6</c:f>
              <c:numCache>
                <c:formatCode>General</c:formatCode>
                <c:ptCount val="28"/>
                <c:pt idx="5">
                  <c:v>599838</c:v>
                </c:pt>
                <c:pt idx="6">
                  <c:v>601001</c:v>
                </c:pt>
                <c:pt idx="7">
                  <c:v>504963</c:v>
                </c:pt>
                <c:pt idx="8">
                  <c:v>400701</c:v>
                </c:pt>
                <c:pt idx="9">
                  <c:v>405941</c:v>
                </c:pt>
                <c:pt idx="10">
                  <c:v>427705</c:v>
                </c:pt>
                <c:pt idx="11">
                  <c:v>442864</c:v>
                </c:pt>
                <c:pt idx="12">
                  <c:v>437999</c:v>
                </c:pt>
                <c:pt idx="13">
                  <c:v>508790</c:v>
                </c:pt>
                <c:pt idx="14">
                  <c:v>473535</c:v>
                </c:pt>
                <c:pt idx="15">
                  <c:v>518810</c:v>
                </c:pt>
                <c:pt idx="16">
                  <c:v>565524</c:v>
                </c:pt>
                <c:pt idx="17">
                  <c:v>445804</c:v>
                </c:pt>
                <c:pt idx="18">
                  <c:v>453332</c:v>
                </c:pt>
                <c:pt idx="19">
                  <c:v>396058</c:v>
                </c:pt>
                <c:pt idx="20">
                  <c:v>302129</c:v>
                </c:pt>
                <c:pt idx="21">
                  <c:v>275421</c:v>
                </c:pt>
                <c:pt idx="22">
                  <c:v>214310</c:v>
                </c:pt>
                <c:pt idx="23">
                  <c:v>163532</c:v>
                </c:pt>
                <c:pt idx="24">
                  <c:v>138349</c:v>
                </c:pt>
                <c:pt idx="25">
                  <c:v>109623</c:v>
                </c:pt>
                <c:pt idx="26">
                  <c:v>63799</c:v>
                </c:pt>
                <c:pt idx="27">
                  <c:v>651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0626-4D78-B996-8AF7E9FD36FE}"/>
            </c:ext>
          </c:extLst>
        </c:ser>
        <c:ser>
          <c:idx val="5"/>
          <c:order val="5"/>
          <c:spPr>
            <a:ln>
              <a:noFill/>
            </a:ln>
          </c:spPr>
          <c:marker>
            <c:symbol val="none"/>
          </c:marker>
          <c:xVal>
            <c:numRef>
              <c:f>Sheet1!$A$1:$AB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xVal>
          <c:yVal>
            <c:numRef>
              <c:f>Sheet1!$A$7:$AB$7</c:f>
              <c:numCache>
                <c:formatCode>General</c:formatCode>
                <c:ptCount val="28"/>
                <c:pt idx="0">
                  <c:v>518236</c:v>
                </c:pt>
                <c:pt idx="1">
                  <c:v>458942</c:v>
                </c:pt>
                <c:pt idx="2">
                  <c:v>421751</c:v>
                </c:pt>
                <c:pt idx="3">
                  <c:v>400157</c:v>
                </c:pt>
                <c:pt idx="4">
                  <c:v>367791</c:v>
                </c:pt>
                <c:pt idx="5">
                  <c:v>468236</c:v>
                </c:pt>
                <c:pt idx="6">
                  <c:v>452095</c:v>
                </c:pt>
                <c:pt idx="7">
                  <c:v>487922</c:v>
                </c:pt>
                <c:pt idx="8">
                  <c:v>488308</c:v>
                </c:pt>
                <c:pt idx="9">
                  <c:v>363676</c:v>
                </c:pt>
                <c:pt idx="10">
                  <c:v>411739</c:v>
                </c:pt>
                <c:pt idx="11">
                  <c:v>402309</c:v>
                </c:pt>
                <c:pt idx="12">
                  <c:v>420858</c:v>
                </c:pt>
                <c:pt idx="13">
                  <c:v>440609</c:v>
                </c:pt>
                <c:pt idx="14">
                  <c:v>450258</c:v>
                </c:pt>
                <c:pt idx="15">
                  <c:v>394294</c:v>
                </c:pt>
                <c:pt idx="16">
                  <c:v>418464</c:v>
                </c:pt>
                <c:pt idx="17">
                  <c:v>416303</c:v>
                </c:pt>
                <c:pt idx="18">
                  <c:v>431666</c:v>
                </c:pt>
                <c:pt idx="19">
                  <c:v>396242</c:v>
                </c:pt>
                <c:pt idx="20">
                  <c:v>360148</c:v>
                </c:pt>
                <c:pt idx="21">
                  <c:v>405905</c:v>
                </c:pt>
                <c:pt idx="22">
                  <c:v>377805</c:v>
                </c:pt>
                <c:pt idx="23">
                  <c:v>400880</c:v>
                </c:pt>
                <c:pt idx="24">
                  <c:v>313055</c:v>
                </c:pt>
                <c:pt idx="25">
                  <c:v>383297</c:v>
                </c:pt>
                <c:pt idx="26">
                  <c:v>379584</c:v>
                </c:pt>
                <c:pt idx="27">
                  <c:v>3841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626-4D78-B996-8AF7E9FD3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1549752"/>
        <c:axId val="811558376"/>
      </c:scatterChart>
      <c:valAx>
        <c:axId val="811549752"/>
        <c:scaling>
          <c:orientation val="minMax"/>
          <c:max val="2017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811558376"/>
        <c:crosses val="min"/>
        <c:crossBetween val="midCat"/>
        <c:majorUnit val="1"/>
      </c:valAx>
      <c:valAx>
        <c:axId val="811558376"/>
        <c:scaling>
          <c:orientation val="minMax"/>
          <c:max val="26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n-US"/>
          </a:p>
        </c:txPr>
        <c:crossAx val="811549752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77533749748136E-2"/>
          <c:y val="6.4676616915422883E-2"/>
          <c:w val="0.97904493250050373"/>
          <c:h val="0.870646766169154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319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829413</c:v>
                </c:pt>
                <c:pt idx="1">
                  <c:v>1165142</c:v>
                </c:pt>
                <c:pt idx="2">
                  <c:v>2435308</c:v>
                </c:pt>
                <c:pt idx="3">
                  <c:v>2164028</c:v>
                </c:pt>
                <c:pt idx="4">
                  <c:v>599838</c:v>
                </c:pt>
                <c:pt idx="5">
                  <c:v>339595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1F-4956-8D8E-C67939692EC9}"/>
            </c:ext>
          </c:extLst>
        </c:ser>
        <c:ser>
          <c:idx val="1"/>
          <c:order val="1"/>
          <c:spPr>
            <a:solidFill>
              <a:srgbClr val="80808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7513</c:v>
                </c:pt>
                <c:pt idx="1">
                  <c:v>56820</c:v>
                </c:pt>
                <c:pt idx="2">
                  <c:v>130918</c:v>
                </c:pt>
                <c:pt idx="3">
                  <c:v>260886</c:v>
                </c:pt>
                <c:pt idx="4">
                  <c:v>65157</c:v>
                </c:pt>
                <c:pt idx="5">
                  <c:v>17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1F-4956-8D8E-C67939692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53326847"/>
        <c:axId val="1"/>
      </c:barChart>
      <c:catAx>
        <c:axId val="1453326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b="1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453326847"/>
        <c:crosses val="min"/>
        <c:crossBetween val="between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83870967741936E-2"/>
          <c:y val="6.8062827225130892E-2"/>
          <c:w val="0.9790322580645161"/>
          <c:h val="0.863874345549738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319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57036</c:v>
                </c:pt>
                <c:pt idx="1">
                  <c:v>324097</c:v>
                </c:pt>
                <c:pt idx="2">
                  <c:v>464365</c:v>
                </c:pt>
                <c:pt idx="3">
                  <c:v>542089</c:v>
                </c:pt>
                <c:pt idx="4">
                  <c:v>126966</c:v>
                </c:pt>
                <c:pt idx="5">
                  <c:v>43829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59-4330-AB69-C838CB0B75D9}"/>
            </c:ext>
          </c:extLst>
        </c:ser>
        <c:ser>
          <c:idx val="1"/>
          <c:order val="1"/>
          <c:spPr>
            <a:solidFill>
              <a:srgbClr val="80808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7907</c:v>
                </c:pt>
                <c:pt idx="1">
                  <c:v>41992</c:v>
                </c:pt>
                <c:pt idx="2">
                  <c:v>257845</c:v>
                </c:pt>
                <c:pt idx="3">
                  <c:v>180085</c:v>
                </c:pt>
                <c:pt idx="4">
                  <c:v>38282</c:v>
                </c:pt>
                <c:pt idx="5">
                  <c:v>18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59-4330-AB69-C838CB0B7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53344735"/>
        <c:axId val="1"/>
      </c:barChart>
      <c:catAx>
        <c:axId val="1453344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b="1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453344735"/>
        <c:crosses val="min"/>
        <c:crossBetween val="between"/>
        <c:majorUnit val="1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83870967741936E-2"/>
          <c:y val="7.0270270270270274E-2"/>
          <c:w val="0.9790322580645161"/>
          <c:h val="0.8594594594594595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319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0308</c:v>
                </c:pt>
                <c:pt idx="1">
                  <c:v>151627</c:v>
                </c:pt>
                <c:pt idx="2">
                  <c:v>16398</c:v>
                </c:pt>
                <c:pt idx="3">
                  <c:v>39141</c:v>
                </c:pt>
                <c:pt idx="4">
                  <c:v>30683</c:v>
                </c:pt>
                <c:pt idx="5">
                  <c:v>66621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A9-4C79-A47E-9A70BEE8D375}"/>
            </c:ext>
          </c:extLst>
        </c:ser>
        <c:ser>
          <c:idx val="1"/>
          <c:order val="1"/>
          <c:spPr>
            <a:solidFill>
              <a:srgbClr val="80808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442</c:v>
                </c:pt>
                <c:pt idx="1">
                  <c:v>1943</c:v>
                </c:pt>
                <c:pt idx="2">
                  <c:v>5581</c:v>
                </c:pt>
                <c:pt idx="3">
                  <c:v>12451</c:v>
                </c:pt>
                <c:pt idx="4">
                  <c:v>4219</c:v>
                </c:pt>
                <c:pt idx="5">
                  <c:v>1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A9-4C79-A47E-9A70BEE8D3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81570463"/>
        <c:axId val="1"/>
      </c:barChart>
      <c:catAx>
        <c:axId val="17815704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 b="1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781570463"/>
        <c:crosses val="min"/>
        <c:crossBetween val="between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558697514995721E-2"/>
          <c:y val="2.5679012345679014E-2"/>
          <c:w val="0.91088260497000861"/>
          <c:h val="0.948641975308642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150</c:v>
                </c:pt>
                <c:pt idx="1">
                  <c:v>6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8B-43D2-AC3F-D0C2BCA206A1}"/>
            </c:ext>
          </c:extLst>
        </c:ser>
        <c:ser>
          <c:idx val="1"/>
          <c:order val="1"/>
          <c:spPr>
            <a:solidFill>
              <a:srgbClr val="1F497D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100</c:v>
                </c:pt>
                <c:pt idx="1">
                  <c:v>1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8B-43D2-AC3F-D0C2BCA206A1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10</c:v>
                </c:pt>
                <c:pt idx="1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8B-43D2-AC3F-D0C2BCA206A1}"/>
            </c:ext>
          </c:extLst>
        </c:ser>
        <c:ser>
          <c:idx val="3"/>
          <c:order val="3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4080</c:v>
                </c:pt>
                <c:pt idx="1">
                  <c:v>2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8B-43D2-AC3F-D0C2BCA206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1534464"/>
        <c:axId val="811536424"/>
      </c:barChart>
      <c:catAx>
        <c:axId val="811534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11536424"/>
        <c:crosses val="min"/>
        <c:auto val="0"/>
        <c:lblAlgn val="ctr"/>
        <c:lblOffset val="100"/>
        <c:noMultiLvlLbl val="0"/>
      </c:catAx>
      <c:valAx>
        <c:axId val="811536424"/>
        <c:scaling>
          <c:orientation val="minMax"/>
          <c:max val="44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1534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19:$AB$19</c:f>
              <c:numCache>
                <c:formatCode>General</c:formatCode>
                <c:ptCount val="25"/>
                <c:pt idx="0">
                  <c:v>0</c:v>
                </c:pt>
                <c:pt idx="1">
                  <c:v>5.5</c:v>
                </c:pt>
                <c:pt idx="2">
                  <c:v>11</c:v>
                </c:pt>
                <c:pt idx="3">
                  <c:v>19.5</c:v>
                </c:pt>
                <c:pt idx="4">
                  <c:v>29.5</c:v>
                </c:pt>
                <c:pt idx="5">
                  <c:v>35.5</c:v>
                </c:pt>
                <c:pt idx="6">
                  <c:v>48.8</c:v>
                </c:pt>
                <c:pt idx="7">
                  <c:v>53.9</c:v>
                </c:pt>
                <c:pt idx="8">
                  <c:v>53.9</c:v>
                </c:pt>
                <c:pt idx="9">
                  <c:v>65.599999999999994</c:v>
                </c:pt>
                <c:pt idx="10">
                  <c:v>66</c:v>
                </c:pt>
                <c:pt idx="11">
                  <c:v>76</c:v>
                </c:pt>
                <c:pt idx="12">
                  <c:v>92</c:v>
                </c:pt>
                <c:pt idx="13">
                  <c:v>92</c:v>
                </c:pt>
                <c:pt idx="14">
                  <c:v>97.2</c:v>
                </c:pt>
                <c:pt idx="15">
                  <c:v>97.2</c:v>
                </c:pt>
                <c:pt idx="16">
                  <c:v>97.2</c:v>
                </c:pt>
                <c:pt idx="17">
                  <c:v>97.2</c:v>
                </c:pt>
                <c:pt idx="18">
                  <c:v>97.2</c:v>
                </c:pt>
                <c:pt idx="19">
                  <c:v>97.2</c:v>
                </c:pt>
                <c:pt idx="20">
                  <c:v>97.2</c:v>
                </c:pt>
                <c:pt idx="21">
                  <c:v>97.2</c:v>
                </c:pt>
                <c:pt idx="22">
                  <c:v>97.2</c:v>
                </c:pt>
                <c:pt idx="23">
                  <c:v>101.2</c:v>
                </c:pt>
                <c:pt idx="24">
                  <c:v>10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F7-4033-BF33-9984DB2930D1}"/>
            </c:ext>
          </c:extLst>
        </c:ser>
        <c:ser>
          <c:idx val="1"/>
          <c:order val="1"/>
          <c:tx>
            <c:strRef>
              <c:f>Grafici!$C$8</c:f>
              <c:strCache>
                <c:ptCount val="1"/>
                <c:pt idx="0">
                  <c:v>Инвестиције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6002730158382074E-5"/>
                  <c:y val="-2.754960289368426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5BF-4C2D-A36B-036E847B86B6}"/>
                </c:ext>
              </c:extLst>
            </c:dLbl>
            <c:dLbl>
              <c:idx val="1"/>
              <c:layout>
                <c:manualLayout>
                  <c:x val="0"/>
                  <c:y val="3.710027852013463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5BF-4C2D-A36B-036E847B86B6}"/>
                </c:ext>
              </c:extLst>
            </c:dLbl>
            <c:dLbl>
              <c:idx val="2"/>
              <c:layout>
                <c:manualLayout>
                  <c:x val="0"/>
                  <c:y val="1.354222022692339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5BF-4C2D-A36B-036E847B86B6}"/>
                </c:ext>
              </c:extLst>
            </c:dLbl>
            <c:dLbl>
              <c:idx val="3"/>
              <c:layout>
                <c:manualLayout>
                  <c:x val="4.2944258352658251E-5"/>
                  <c:y val="2.48372550027641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5BF-4C2D-A36B-036E847B86B6}"/>
                </c:ext>
              </c:extLst>
            </c:dLbl>
            <c:dLbl>
              <c:idx val="4"/>
              <c:layout>
                <c:manualLayout>
                  <c:x val="-2.6592391791190125E-17"/>
                  <c:y val="8.294022250269910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5BF-4C2D-A36B-036E847B86B6}"/>
                </c:ext>
              </c:extLst>
            </c:dLbl>
            <c:dLbl>
              <c:idx val="5"/>
              <c:layout>
                <c:manualLayout>
                  <c:x val="0"/>
                  <c:y val="5.712260741692162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5BF-4C2D-A36B-036E847B86B6}"/>
                </c:ext>
              </c:extLst>
            </c:dLbl>
            <c:dLbl>
              <c:idx val="6"/>
              <c:layout>
                <c:manualLayout>
                  <c:x val="-5.318478358238025E-17"/>
                  <c:y val="4.559801552685831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5BF-4C2D-A36B-036E847B86B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AD0-4FAB-B424-852037A8FEE3}"/>
                </c:ext>
              </c:extLst>
            </c:dLbl>
            <c:dLbl>
              <c:idx val="8"/>
              <c:layout>
                <c:manualLayout>
                  <c:x val="-2.8150189777073615E-3"/>
                  <c:y val="7.344453061618352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5BF-4C2D-A36B-036E847B86B6}"/>
                </c:ext>
              </c:extLst>
            </c:dLbl>
            <c:dLbl>
              <c:idx val="10"/>
              <c:layout>
                <c:manualLayout>
                  <c:x val="-5.318478358238025E-17"/>
                  <c:y val="1.38451806339570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B5BF-4C2D-A36B-036E847B86B6}"/>
                </c:ext>
              </c:extLst>
            </c:dLbl>
            <c:dLbl>
              <c:idx val="11"/>
              <c:layout>
                <c:manualLayout>
                  <c:x val="-2.8150189777074145E-3"/>
                  <c:y val="3.385431343315997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B5BF-4C2D-A36B-036E847B86B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AD0-4FAB-B424-852037A8FEE3}"/>
                </c:ext>
              </c:extLst>
            </c:dLbl>
            <c:dLbl>
              <c:idx val="13"/>
              <c:layout>
                <c:manualLayout>
                  <c:x val="-2.1328220225466494E-3"/>
                  <c:y val="7.019224239911652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2243641051787121E-2"/>
                      <c:h val="2.75652732595653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B5BF-4C2D-A36B-036E847B86B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AD0-4FAB-B424-852037A8FEE3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AD0-4FAB-B424-852037A8FEE3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AD0-4FAB-B424-852037A8FEE3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AD0-4FAB-B424-852037A8FEE3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AD0-4FAB-B424-852037A8FEE3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AD0-4FAB-B424-852037A8FEE3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AD0-4FAB-B424-852037A8FEE3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AD0-4FAB-B424-852037A8FEE3}"/>
                </c:ext>
              </c:extLst>
            </c:dLbl>
            <c:dLbl>
              <c:idx val="22"/>
              <c:layout>
                <c:manualLayout>
                  <c:x val="1.063695671647605E-16"/>
                  <c:y val="-2.492412931185925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AAD0-4FAB-B424-852037A8FEE3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AD0-4FAB-B424-852037A8FEE3}"/>
                </c:ext>
              </c:extLst>
            </c:dLbl>
            <c:dLbl>
              <c:idx val="24"/>
              <c:layout>
                <c:manualLayout>
                  <c:x val="-8.6002730158382074E-5"/>
                  <c:y val="1.185834319145968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AAD0-4FAB-B424-852037A8FE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20:$AB$20</c:f>
              <c:numCache>
                <c:formatCode>General</c:formatCode>
                <c:ptCount val="25"/>
                <c:pt idx="0">
                  <c:v>5.5</c:v>
                </c:pt>
                <c:pt idx="1">
                  <c:v>5.5</c:v>
                </c:pt>
                <c:pt idx="2">
                  <c:v>8.5</c:v>
                </c:pt>
                <c:pt idx="3">
                  <c:v>10</c:v>
                </c:pt>
                <c:pt idx="4">
                  <c:v>6</c:v>
                </c:pt>
                <c:pt idx="5">
                  <c:v>13.3</c:v>
                </c:pt>
                <c:pt idx="6">
                  <c:v>5.0999999999999996</c:v>
                </c:pt>
                <c:pt idx="7">
                  <c:v>0</c:v>
                </c:pt>
                <c:pt idx="8">
                  <c:v>11.7</c:v>
                </c:pt>
                <c:pt idx="9">
                  <c:v>0.4</c:v>
                </c:pt>
                <c:pt idx="10">
                  <c:v>10</c:v>
                </c:pt>
                <c:pt idx="11">
                  <c:v>16</c:v>
                </c:pt>
                <c:pt idx="12">
                  <c:v>0</c:v>
                </c:pt>
                <c:pt idx="13">
                  <c:v>5.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4</c:v>
                </c:pt>
                <c:pt idx="23">
                  <c:v>0</c:v>
                </c:pt>
                <c:pt idx="2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F7-4033-BF33-9984DB293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11546616"/>
        <c:axId val="811543088"/>
      </c:barChart>
      <c:lineChart>
        <c:grouping val="standard"/>
        <c:varyColors val="0"/>
        <c:ser>
          <c:idx val="2"/>
          <c:order val="2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FD8-46AA-AA1F-26283D30460C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D8-46AA-AA1F-26283D30460C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FD8-46AA-AA1F-26283D30460C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D8-46AA-AA1F-26283D30460C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FD8-46AA-AA1F-26283D30460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FD8-46AA-AA1F-26283D30460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FD8-46AA-AA1F-26283D30460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FD8-46AA-AA1F-26283D3046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Grafici!$D$21:$AB$21</c:f>
              <c:numCache>
                <c:formatCode>General</c:formatCode>
                <c:ptCount val="25"/>
                <c:pt idx="0">
                  <c:v>5.5</c:v>
                </c:pt>
                <c:pt idx="1">
                  <c:v>11</c:v>
                </c:pt>
                <c:pt idx="2">
                  <c:v>19.5</c:v>
                </c:pt>
                <c:pt idx="3">
                  <c:v>29.5</c:v>
                </c:pt>
                <c:pt idx="4">
                  <c:v>35.5</c:v>
                </c:pt>
                <c:pt idx="5">
                  <c:v>48.8</c:v>
                </c:pt>
                <c:pt idx="6">
                  <c:v>53.9</c:v>
                </c:pt>
                <c:pt idx="7">
                  <c:v>53.9</c:v>
                </c:pt>
                <c:pt idx="8">
                  <c:v>65.599999999999994</c:v>
                </c:pt>
                <c:pt idx="9">
                  <c:v>66</c:v>
                </c:pt>
                <c:pt idx="10">
                  <c:v>76</c:v>
                </c:pt>
                <c:pt idx="11">
                  <c:v>92</c:v>
                </c:pt>
                <c:pt idx="12">
                  <c:v>92</c:v>
                </c:pt>
                <c:pt idx="13">
                  <c:v>97.2</c:v>
                </c:pt>
                <c:pt idx="14">
                  <c:v>97.2</c:v>
                </c:pt>
                <c:pt idx="15">
                  <c:v>97.2</c:v>
                </c:pt>
                <c:pt idx="16">
                  <c:v>97.2</c:v>
                </c:pt>
                <c:pt idx="17">
                  <c:v>97.2</c:v>
                </c:pt>
                <c:pt idx="18">
                  <c:v>97.2</c:v>
                </c:pt>
                <c:pt idx="19">
                  <c:v>97.2</c:v>
                </c:pt>
                <c:pt idx="20">
                  <c:v>97.2</c:v>
                </c:pt>
                <c:pt idx="21">
                  <c:v>97.2</c:v>
                </c:pt>
                <c:pt idx="22">
                  <c:v>101.2</c:v>
                </c:pt>
                <c:pt idx="23">
                  <c:v>101.2</c:v>
                </c:pt>
                <c:pt idx="24">
                  <c:v>109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25F7-4033-BF33-9984DB2930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46616"/>
        <c:axId val="811543088"/>
      </c:lineChart>
      <c:catAx>
        <c:axId val="811546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811543088"/>
        <c:crosses val="autoZero"/>
        <c:auto val="1"/>
        <c:lblAlgn val="ctr"/>
        <c:lblOffset val="100"/>
        <c:noMultiLvlLbl val="0"/>
      </c:catAx>
      <c:valAx>
        <c:axId val="811543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lg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811546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4083750663418748E-2"/>
          <c:y val="6.6221070102290572E-2"/>
          <c:w val="0.89940137089530914"/>
          <c:h val="0.87834560160748343"/>
        </c:manualLayout>
      </c:layout>
      <c:lineChart>
        <c:grouping val="standard"/>
        <c:varyColors val="0"/>
        <c:ser>
          <c:idx val="0"/>
          <c:order val="0"/>
          <c:tx>
            <c:strRef>
              <c:f>Sheet1!$C$34</c:f>
              <c:strCache>
                <c:ptCount val="1"/>
                <c:pt idx="0">
                  <c:v>Прашкасте материје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D$31:$AB$31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Sheet1!$D$34:$AB$34</c:f>
              <c:numCache>
                <c:formatCode>General</c:formatCode>
                <c:ptCount val="25"/>
                <c:pt idx="0">
                  <c:v>66621.72</c:v>
                </c:pt>
                <c:pt idx="1">
                  <c:v>65686</c:v>
                </c:pt>
                <c:pt idx="2">
                  <c:v>34983</c:v>
                </c:pt>
                <c:pt idx="3">
                  <c:v>19380.5</c:v>
                </c:pt>
                <c:pt idx="4">
                  <c:v>12197</c:v>
                </c:pt>
                <c:pt idx="5">
                  <c:v>23600</c:v>
                </c:pt>
                <c:pt idx="6">
                  <c:v>19327</c:v>
                </c:pt>
                <c:pt idx="7">
                  <c:v>18369</c:v>
                </c:pt>
                <c:pt idx="8">
                  <c:v>22814.84</c:v>
                </c:pt>
                <c:pt idx="9">
                  <c:v>21988.5</c:v>
                </c:pt>
                <c:pt idx="10">
                  <c:v>16241.19</c:v>
                </c:pt>
                <c:pt idx="11">
                  <c:v>8513.43</c:v>
                </c:pt>
                <c:pt idx="12">
                  <c:v>11849.93</c:v>
                </c:pt>
                <c:pt idx="13">
                  <c:v>12429.18795</c:v>
                </c:pt>
                <c:pt idx="14">
                  <c:v>9453.3679100000008</c:v>
                </c:pt>
                <c:pt idx="15">
                  <c:v>9416.3936900000008</c:v>
                </c:pt>
                <c:pt idx="16">
                  <c:v>8500</c:v>
                </c:pt>
                <c:pt idx="17">
                  <c:v>7818.9668800000009</c:v>
                </c:pt>
                <c:pt idx="18">
                  <c:v>7800.6986600000009</c:v>
                </c:pt>
                <c:pt idx="19">
                  <c:v>6625.694869075227</c:v>
                </c:pt>
                <c:pt idx="20">
                  <c:v>6435.325646639878</c:v>
                </c:pt>
                <c:pt idx="21">
                  <c:v>1854.7738995749426</c:v>
                </c:pt>
                <c:pt idx="22">
                  <c:v>1814.2627776347938</c:v>
                </c:pt>
                <c:pt idx="23">
                  <c:v>1878.0958177211173</c:v>
                </c:pt>
                <c:pt idx="24">
                  <c:v>1743.820092256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09-4286-93D3-2F6BC7792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40736"/>
        <c:axId val="811544264"/>
      </c:lineChart>
      <c:lineChart>
        <c:grouping val="standard"/>
        <c:varyColors val="0"/>
        <c:ser>
          <c:idx val="1"/>
          <c:order val="1"/>
          <c:tx>
            <c:strRef>
              <c:f>Sheet1!$C$34</c:f>
              <c:strCache>
                <c:ptCount val="1"/>
                <c:pt idx="0">
                  <c:v>Прашкасте материје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val>
            <c:numRef>
              <c:f>Sheet1!$D$34:$AB$34</c:f>
              <c:numCache>
                <c:formatCode>General</c:formatCode>
                <c:ptCount val="25"/>
                <c:pt idx="0">
                  <c:v>66621.72</c:v>
                </c:pt>
                <c:pt idx="1">
                  <c:v>65686</c:v>
                </c:pt>
                <c:pt idx="2">
                  <c:v>34983</c:v>
                </c:pt>
                <c:pt idx="3">
                  <c:v>19380.5</c:v>
                </c:pt>
                <c:pt idx="4">
                  <c:v>12197</c:v>
                </c:pt>
                <c:pt idx="5">
                  <c:v>23600</c:v>
                </c:pt>
                <c:pt idx="6">
                  <c:v>19327</c:v>
                </c:pt>
                <c:pt idx="7">
                  <c:v>18369</c:v>
                </c:pt>
                <c:pt idx="8">
                  <c:v>22814.84</c:v>
                </c:pt>
                <c:pt idx="9">
                  <c:v>21988.5</c:v>
                </c:pt>
                <c:pt idx="10">
                  <c:v>16241.19</c:v>
                </c:pt>
                <c:pt idx="11">
                  <c:v>8513.43</c:v>
                </c:pt>
                <c:pt idx="12">
                  <c:v>11849.93</c:v>
                </c:pt>
                <c:pt idx="13">
                  <c:v>12429.18795</c:v>
                </c:pt>
                <c:pt idx="14">
                  <c:v>9453.3679100000008</c:v>
                </c:pt>
                <c:pt idx="15">
                  <c:v>9416.3936900000008</c:v>
                </c:pt>
                <c:pt idx="16">
                  <c:v>8500</c:v>
                </c:pt>
                <c:pt idx="17">
                  <c:v>7818.9668800000009</c:v>
                </c:pt>
                <c:pt idx="18">
                  <c:v>7800.6986600000009</c:v>
                </c:pt>
                <c:pt idx="19">
                  <c:v>6625.694869075227</c:v>
                </c:pt>
                <c:pt idx="20">
                  <c:v>6435.325646639878</c:v>
                </c:pt>
                <c:pt idx="21">
                  <c:v>1854.7738995749426</c:v>
                </c:pt>
                <c:pt idx="22">
                  <c:v>1814.2627776347938</c:v>
                </c:pt>
                <c:pt idx="23">
                  <c:v>1878.0958177211173</c:v>
                </c:pt>
                <c:pt idx="24">
                  <c:v>1743.8200922565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F09-4286-93D3-2F6BC7792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42696"/>
        <c:axId val="811541912"/>
      </c:lineChart>
      <c:catAx>
        <c:axId val="8115407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1544264"/>
        <c:crosses val="autoZero"/>
        <c:auto val="1"/>
        <c:lblAlgn val="ctr"/>
        <c:lblOffset val="100"/>
        <c:noMultiLvlLbl val="0"/>
      </c:catAx>
      <c:valAx>
        <c:axId val="81154426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1540736"/>
        <c:crosses val="autoZero"/>
        <c:crossBetween val="between"/>
      </c:valAx>
      <c:valAx>
        <c:axId val="811541912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1542696"/>
        <c:crosses val="max"/>
        <c:crossBetween val="between"/>
      </c:valAx>
      <c:catAx>
        <c:axId val="811542696"/>
        <c:scaling>
          <c:orientation val="minMax"/>
        </c:scaling>
        <c:delete val="1"/>
        <c:axPos val="b"/>
        <c:majorTickMark val="out"/>
        <c:minorTickMark val="none"/>
        <c:tickLblPos val="nextTo"/>
        <c:crossAx val="8115419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400" b="0" i="0" baseline="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x</a:t>
            </a:r>
            <a:r>
              <a:rPr lang="sr-Latn-RS" sz="1400" b="0" i="0" baseline="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sr-Cyrl-RS" sz="1400" b="0" i="0" baseline="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емисија и инвестиције у </a:t>
            </a:r>
            <a:r>
              <a:rPr lang="sr-Cyrl-RS" sz="1400" b="0" i="0" baseline="0" dirty="0" smtClean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енитрификацију </a:t>
            </a:r>
            <a:r>
              <a:rPr lang="sr-Cyrl-RS" sz="1400" b="0" i="0" baseline="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ТЕ на угаљ ЈП ЕПС-а</a:t>
            </a:r>
            <a:endParaRPr lang="sr-Latn-RS" sz="1400" dirty="0">
              <a:solidFill>
                <a:srgbClr val="00206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30637495266748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41:$AB$41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</c:v>
                </c:pt>
                <c:pt idx="11">
                  <c:v>24.5</c:v>
                </c:pt>
                <c:pt idx="12">
                  <c:v>42.3</c:v>
                </c:pt>
                <c:pt idx="13">
                  <c:v>42.3</c:v>
                </c:pt>
                <c:pt idx="14">
                  <c:v>42.3</c:v>
                </c:pt>
                <c:pt idx="15">
                  <c:v>42.3</c:v>
                </c:pt>
                <c:pt idx="16">
                  <c:v>50.9</c:v>
                </c:pt>
                <c:pt idx="17">
                  <c:v>66.099999999999994</c:v>
                </c:pt>
                <c:pt idx="18">
                  <c:v>81.47</c:v>
                </c:pt>
                <c:pt idx="19">
                  <c:v>93.789999999999992</c:v>
                </c:pt>
                <c:pt idx="20">
                  <c:v>127.60999999999999</c:v>
                </c:pt>
                <c:pt idx="21">
                  <c:v>147.60999999999999</c:v>
                </c:pt>
                <c:pt idx="22">
                  <c:v>155.55999999999997</c:v>
                </c:pt>
                <c:pt idx="23">
                  <c:v>166.55999999999997</c:v>
                </c:pt>
                <c:pt idx="24">
                  <c:v>168.5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04-4437-91E2-C2906772B7EC}"/>
            </c:ext>
          </c:extLst>
        </c:ser>
        <c:ser>
          <c:idx val="1"/>
          <c:order val="1"/>
          <c:tx>
            <c:strRef>
              <c:f>Grafici!$C$8</c:f>
              <c:strCache>
                <c:ptCount val="1"/>
                <c:pt idx="0">
                  <c:v>Инвестиције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04-4437-91E2-C2906772B7E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04-4437-91E2-C2906772B7E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04-4437-91E2-C2906772B7E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A04-4437-91E2-C2906772B7E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A04-4437-91E2-C2906772B7E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A04-4437-91E2-C2906772B7E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A04-4437-91E2-C2906772B7E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A04-4437-91E2-C2906772B7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A04-4437-91E2-C2906772B7EC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A04-4437-91E2-C2906772B7EC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DA04-4437-91E2-C2906772B7EC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DA04-4437-91E2-C2906772B7EC}"/>
                </c:ext>
              </c:extLst>
            </c:dLbl>
            <c:dLbl>
              <c:idx val="19"/>
              <c:layout>
                <c:manualLayout>
                  <c:x val="0"/>
                  <c:y val="-6.796704368788375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211-4BB9-9F44-63CE8C240F2C}"/>
                </c:ext>
              </c:extLst>
            </c:dLbl>
            <c:dLbl>
              <c:idx val="23"/>
              <c:layout>
                <c:manualLayout>
                  <c:x val="-4.2409935100554954E-3"/>
                  <c:y val="2.3422709606153346E-2"/>
                </c:manualLayout>
              </c:layout>
              <c:tx>
                <c:rich>
                  <a:bodyPr/>
                  <a:lstStyle/>
                  <a:p>
                    <a:fld id="{3DD499B7-AD89-4489-B411-FA815C54DD46}" type="VALUE">
                      <a:rPr lang="en-US">
                        <a:solidFill>
                          <a:srgbClr val="00206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DA04-4437-91E2-C2906772B7E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DA04-4437-91E2-C2906772B7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42:$AB$42</c:f>
              <c:numCache>
                <c:formatCode>0.0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</c:v>
                </c:pt>
                <c:pt idx="10">
                  <c:v>12.5</c:v>
                </c:pt>
                <c:pt idx="11">
                  <c:v>17.8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8.6</c:v>
                </c:pt>
                <c:pt idx="16">
                  <c:v>15.2</c:v>
                </c:pt>
                <c:pt idx="17">
                  <c:v>15.370000000000001</c:v>
                </c:pt>
                <c:pt idx="18">
                  <c:v>12.32</c:v>
                </c:pt>
                <c:pt idx="19">
                  <c:v>33.82</c:v>
                </c:pt>
                <c:pt idx="20">
                  <c:v>20</c:v>
                </c:pt>
                <c:pt idx="21">
                  <c:v>7.95</c:v>
                </c:pt>
                <c:pt idx="22">
                  <c:v>11</c:v>
                </c:pt>
                <c:pt idx="23">
                  <c:v>2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A04-4437-91E2-C2906772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overlap val="100"/>
        <c:axId val="811589736"/>
        <c:axId val="811595616"/>
      </c:barChart>
      <c:lineChart>
        <c:grouping val="standard"/>
        <c:varyColors val="0"/>
        <c:ser>
          <c:idx val="2"/>
          <c:order val="2"/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DA04-4437-91E2-C2906772B7E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A04-4437-91E2-C2906772B7E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DA04-4437-91E2-C2906772B7E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A04-4437-91E2-C2906772B7E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DA04-4437-91E2-C2906772B7E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A04-4437-91E2-C2906772B7E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DA04-4437-91E2-C2906772B7E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DA04-4437-91E2-C2906772B7E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DA04-4437-91E2-C2906772B7EC}"/>
                </c:ext>
              </c:extLst>
            </c:dLbl>
            <c:dLbl>
              <c:idx val="17"/>
              <c:layout>
                <c:manualLayout>
                  <c:x val="-2.298273414736662E-2"/>
                  <c:y val="-2.62236821393912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211-4BB9-9F44-63CE8C240F2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12F-416B-9406-91CFD86B72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Grafici!$D$43:$AB$43</c:f>
              <c:numCache>
                <c:formatCode>0.0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</c:v>
                </c:pt>
                <c:pt idx="10">
                  <c:v>24.5</c:v>
                </c:pt>
                <c:pt idx="11">
                  <c:v>42.3</c:v>
                </c:pt>
                <c:pt idx="12">
                  <c:v>42.3</c:v>
                </c:pt>
                <c:pt idx="13">
                  <c:v>42.3</c:v>
                </c:pt>
                <c:pt idx="14">
                  <c:v>42.3</c:v>
                </c:pt>
                <c:pt idx="15">
                  <c:v>50.9</c:v>
                </c:pt>
                <c:pt idx="16">
                  <c:v>66.099999999999994</c:v>
                </c:pt>
                <c:pt idx="17">
                  <c:v>81.47</c:v>
                </c:pt>
                <c:pt idx="18">
                  <c:v>93.789999999999992</c:v>
                </c:pt>
                <c:pt idx="19">
                  <c:v>127.60999999999999</c:v>
                </c:pt>
                <c:pt idx="20">
                  <c:v>147.60999999999999</c:v>
                </c:pt>
                <c:pt idx="21">
                  <c:v>155.55999999999997</c:v>
                </c:pt>
                <c:pt idx="22">
                  <c:v>166.55999999999997</c:v>
                </c:pt>
                <c:pt idx="23">
                  <c:v>168.55999999999997</c:v>
                </c:pt>
                <c:pt idx="24">
                  <c:v>168.55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DA04-4437-91E2-C2906772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89736"/>
        <c:axId val="811595616"/>
      </c:lineChart>
      <c:catAx>
        <c:axId val="811589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1595616"/>
        <c:crosses val="autoZero"/>
        <c:auto val="1"/>
        <c:lblAlgn val="ctr"/>
        <c:lblOffset val="100"/>
        <c:noMultiLvlLbl val="0"/>
      </c:catAx>
      <c:valAx>
        <c:axId val="811595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1589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41:$AB$41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2</c:v>
                </c:pt>
                <c:pt idx="11">
                  <c:v>24.5</c:v>
                </c:pt>
                <c:pt idx="12">
                  <c:v>42.3</c:v>
                </c:pt>
                <c:pt idx="13">
                  <c:v>42.3</c:v>
                </c:pt>
                <c:pt idx="14">
                  <c:v>42.3</c:v>
                </c:pt>
                <c:pt idx="15">
                  <c:v>42.3</c:v>
                </c:pt>
                <c:pt idx="16">
                  <c:v>50.9</c:v>
                </c:pt>
                <c:pt idx="17">
                  <c:v>66.099999999999994</c:v>
                </c:pt>
                <c:pt idx="18">
                  <c:v>81.47</c:v>
                </c:pt>
                <c:pt idx="19">
                  <c:v>93.789999999999992</c:v>
                </c:pt>
                <c:pt idx="20">
                  <c:v>127.60999999999999</c:v>
                </c:pt>
                <c:pt idx="21">
                  <c:v>147.60999999999999</c:v>
                </c:pt>
                <c:pt idx="22">
                  <c:v>155.55999999999997</c:v>
                </c:pt>
                <c:pt idx="23">
                  <c:v>166.55999999999997</c:v>
                </c:pt>
                <c:pt idx="24">
                  <c:v>168.5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04-4437-91E2-C2906772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1585032"/>
        <c:axId val="811586600"/>
      </c:barChart>
      <c:lineChart>
        <c:grouping val="standard"/>
        <c:varyColors val="0"/>
        <c:ser>
          <c:idx val="2"/>
          <c:order val="1"/>
          <c:spPr>
            <a:ln w="25400" cap="rnd">
              <a:noFill/>
              <a:round/>
            </a:ln>
            <a:effectLst/>
          </c:spPr>
          <c:marker>
            <c:symbol val="none"/>
          </c:marker>
          <c:val>
            <c:numRef>
              <c:f>Grafici!$D$43:$AB$43</c:f>
              <c:numCache>
                <c:formatCode>0.0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</c:v>
                </c:pt>
                <c:pt idx="10">
                  <c:v>24.5</c:v>
                </c:pt>
                <c:pt idx="11">
                  <c:v>42.3</c:v>
                </c:pt>
                <c:pt idx="12">
                  <c:v>42.3</c:v>
                </c:pt>
                <c:pt idx="13">
                  <c:v>42.3</c:v>
                </c:pt>
                <c:pt idx="14">
                  <c:v>42.3</c:v>
                </c:pt>
                <c:pt idx="15">
                  <c:v>50.9</c:v>
                </c:pt>
                <c:pt idx="16">
                  <c:v>66.099999999999994</c:v>
                </c:pt>
                <c:pt idx="17">
                  <c:v>81.47</c:v>
                </c:pt>
                <c:pt idx="18">
                  <c:v>93.789999999999992</c:v>
                </c:pt>
                <c:pt idx="19">
                  <c:v>127.60999999999999</c:v>
                </c:pt>
                <c:pt idx="20">
                  <c:v>147.60999999999999</c:v>
                </c:pt>
                <c:pt idx="21">
                  <c:v>155.55999999999997</c:v>
                </c:pt>
                <c:pt idx="22">
                  <c:v>166.55999999999997</c:v>
                </c:pt>
                <c:pt idx="23">
                  <c:v>168.55999999999997</c:v>
                </c:pt>
                <c:pt idx="24">
                  <c:v>168.55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DA04-4437-91E2-C2906772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85032"/>
        <c:axId val="811586600"/>
      </c:lineChart>
      <c:lineChart>
        <c:grouping val="standard"/>
        <c:varyColors val="0"/>
        <c:ser>
          <c:idx val="3"/>
          <c:order val="2"/>
          <c:tx>
            <c:strRef>
              <c:f>Grafici!$C$6</c:f>
              <c:strCache>
                <c:ptCount val="1"/>
                <c:pt idx="0">
                  <c:v>NOx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val>
            <c:numRef>
              <c:f>Grafici!$D$6:$AB$6</c:f>
              <c:numCache>
                <c:formatCode>General</c:formatCode>
                <c:ptCount val="25"/>
                <c:pt idx="0">
                  <c:v>43829.78</c:v>
                </c:pt>
                <c:pt idx="1">
                  <c:v>46762</c:v>
                </c:pt>
                <c:pt idx="2">
                  <c:v>36398</c:v>
                </c:pt>
                <c:pt idx="3">
                  <c:v>41419</c:v>
                </c:pt>
                <c:pt idx="4">
                  <c:v>45015</c:v>
                </c:pt>
                <c:pt idx="5">
                  <c:v>59112</c:v>
                </c:pt>
                <c:pt idx="6">
                  <c:v>55855</c:v>
                </c:pt>
                <c:pt idx="7">
                  <c:v>43106</c:v>
                </c:pt>
                <c:pt idx="8">
                  <c:v>52835.49</c:v>
                </c:pt>
                <c:pt idx="9">
                  <c:v>44813</c:v>
                </c:pt>
                <c:pt idx="10">
                  <c:v>48479.91</c:v>
                </c:pt>
                <c:pt idx="11">
                  <c:v>41986.38</c:v>
                </c:pt>
                <c:pt idx="12">
                  <c:v>48571.94</c:v>
                </c:pt>
                <c:pt idx="13">
                  <c:v>43992.788</c:v>
                </c:pt>
                <c:pt idx="14">
                  <c:v>42430.471400000002</c:v>
                </c:pt>
                <c:pt idx="15">
                  <c:v>39909.437899999997</c:v>
                </c:pt>
                <c:pt idx="16">
                  <c:v>38000</c:v>
                </c:pt>
                <c:pt idx="17">
                  <c:v>35558.994390342865</c:v>
                </c:pt>
                <c:pt idx="18">
                  <c:v>32042.155859657141</c:v>
                </c:pt>
                <c:pt idx="19">
                  <c:v>29343.187872559338</c:v>
                </c:pt>
                <c:pt idx="20">
                  <c:v>19997.264592172149</c:v>
                </c:pt>
                <c:pt idx="21">
                  <c:v>19721.072918556318</c:v>
                </c:pt>
                <c:pt idx="22">
                  <c:v>19988.588504617986</c:v>
                </c:pt>
                <c:pt idx="23">
                  <c:v>19582.033979702097</c:v>
                </c:pt>
                <c:pt idx="24">
                  <c:v>18382.029449904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6-DA04-4437-91E2-C2906772B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87384"/>
        <c:axId val="811591304"/>
      </c:lineChart>
      <c:catAx>
        <c:axId val="8115850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1586600"/>
        <c:crosses val="autoZero"/>
        <c:auto val="1"/>
        <c:lblAlgn val="ctr"/>
        <c:lblOffset val="100"/>
        <c:noMultiLvlLbl val="0"/>
      </c:catAx>
      <c:valAx>
        <c:axId val="81158660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11585032"/>
        <c:crosses val="autoZero"/>
        <c:crossBetween val="between"/>
      </c:valAx>
      <c:valAx>
        <c:axId val="811591304"/>
        <c:scaling>
          <c:orientation val="minMax"/>
          <c:max val="7000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811587384"/>
        <c:crosses val="max"/>
        <c:crossBetween val="between"/>
      </c:valAx>
      <c:catAx>
        <c:axId val="811587384"/>
        <c:scaling>
          <c:orientation val="minMax"/>
        </c:scaling>
        <c:delete val="1"/>
        <c:axPos val="b"/>
        <c:majorTickMark val="out"/>
        <c:minorTickMark val="none"/>
        <c:tickLblPos val="nextTo"/>
        <c:crossAx val="8115913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30:$AB$30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96</c:v>
                </c:pt>
                <c:pt idx="15">
                  <c:v>96</c:v>
                </c:pt>
                <c:pt idx="16">
                  <c:v>136.30000000000001</c:v>
                </c:pt>
                <c:pt idx="17">
                  <c:v>209.70000000000002</c:v>
                </c:pt>
                <c:pt idx="18">
                  <c:v>292.89999999999998</c:v>
                </c:pt>
                <c:pt idx="19">
                  <c:v>378.09999999999997</c:v>
                </c:pt>
                <c:pt idx="20">
                  <c:v>478.69999999999993</c:v>
                </c:pt>
                <c:pt idx="21">
                  <c:v>572.99999999999989</c:v>
                </c:pt>
                <c:pt idx="22">
                  <c:v>590.99999999999989</c:v>
                </c:pt>
                <c:pt idx="23">
                  <c:v>590.99999999999989</c:v>
                </c:pt>
                <c:pt idx="24">
                  <c:v>590.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4-4A37-AC6E-814BB7859808}"/>
            </c:ext>
          </c:extLst>
        </c:ser>
        <c:ser>
          <c:idx val="1"/>
          <c:order val="1"/>
          <c:tx>
            <c:strRef>
              <c:f>Grafici!$C$8</c:f>
              <c:strCache>
                <c:ptCount val="1"/>
                <c:pt idx="0">
                  <c:v>Инвестиције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064-4A37-AC6E-814BB78598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064-4A37-AC6E-814BB78598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064-4A37-AC6E-814BB78598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064-4A37-AC6E-814BB785980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3064-4A37-AC6E-814BB78598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3064-4A37-AC6E-814BB78598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3064-4A37-AC6E-814BB785980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064-4A37-AC6E-814BB785980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3064-4A37-AC6E-814BB7859808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3064-4A37-AC6E-814BB7859808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3064-4A37-AC6E-814BB7859808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3064-4A37-AC6E-814BB7859808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064-4A37-AC6E-814BB7859808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064-4A37-AC6E-814BB7859808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064-4A37-AC6E-814BB7859808}"/>
                </c:ext>
              </c:extLst>
            </c:dLbl>
            <c:dLbl>
              <c:idx val="21"/>
              <c:layout>
                <c:manualLayout>
                  <c:x val="0"/>
                  <c:y val="5.031600335923564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EFF-48B8-AB96-A4C426011533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064-4A37-AC6E-814BB785980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064-4A37-AC6E-814BB785980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064-4A37-AC6E-814BB78598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31:$AB$31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96</c:v>
                </c:pt>
                <c:pt idx="14">
                  <c:v>0</c:v>
                </c:pt>
                <c:pt idx="15">
                  <c:v>40.299999999999997</c:v>
                </c:pt>
                <c:pt idx="16">
                  <c:v>73.400000000000006</c:v>
                </c:pt>
                <c:pt idx="17">
                  <c:v>83.199999999999989</c:v>
                </c:pt>
                <c:pt idx="18">
                  <c:v>85.2</c:v>
                </c:pt>
                <c:pt idx="19">
                  <c:v>100.6</c:v>
                </c:pt>
                <c:pt idx="20">
                  <c:v>94.3</c:v>
                </c:pt>
                <c:pt idx="21">
                  <c:v>18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064-4A37-AC6E-814BB7859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811587776"/>
        <c:axId val="811586992"/>
      </c:barChart>
      <c:lineChart>
        <c:grouping val="standard"/>
        <c:varyColors val="0"/>
        <c:ser>
          <c:idx val="2"/>
          <c:order val="2"/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064-4A37-AC6E-814BB785980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064-4A37-AC6E-814BB785980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064-4A37-AC6E-814BB785980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064-4A37-AC6E-814BB785980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064-4A37-AC6E-814BB7859808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064-4A37-AC6E-814BB7859808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064-4A37-AC6E-814BB785980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064-4A37-AC6E-814BB7859808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3064-4A37-AC6E-814BB7859808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3064-4A37-AC6E-814BB7859808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3064-4A37-AC6E-814BB7859808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3064-4A37-AC6E-814BB7859808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3064-4A37-AC6E-814BB7859808}"/>
                </c:ext>
              </c:extLst>
            </c:dLbl>
            <c:dLbl>
              <c:idx val="15"/>
              <c:layout>
                <c:manualLayout>
                  <c:x val="-3.1503590590292438E-2"/>
                  <c:y val="-3.99441645878826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9-3064-4A37-AC6E-814BB7859808}"/>
                </c:ext>
              </c:extLst>
            </c:dLbl>
            <c:dLbl>
              <c:idx val="18"/>
              <c:layout>
                <c:manualLayout>
                  <c:x val="-2.899439527035224E-2"/>
                  <c:y val="-8.9392503682258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EFF-48B8-AB96-A4C426011533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3064-4A37-AC6E-814BB7859808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3064-4A37-AC6E-814BB7859808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3064-4A37-AC6E-814BB78598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Grafici!$D$32:$AB$32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96</c:v>
                </c:pt>
                <c:pt idx="14">
                  <c:v>96</c:v>
                </c:pt>
                <c:pt idx="15">
                  <c:v>136.30000000000001</c:v>
                </c:pt>
                <c:pt idx="16">
                  <c:v>209.70000000000002</c:v>
                </c:pt>
                <c:pt idx="17">
                  <c:v>292.89999999999998</c:v>
                </c:pt>
                <c:pt idx="18">
                  <c:v>378.09999999999997</c:v>
                </c:pt>
                <c:pt idx="19">
                  <c:v>478.69999999999993</c:v>
                </c:pt>
                <c:pt idx="20">
                  <c:v>572.99999999999989</c:v>
                </c:pt>
                <c:pt idx="21">
                  <c:v>590.99999999999989</c:v>
                </c:pt>
                <c:pt idx="22">
                  <c:v>590.99999999999989</c:v>
                </c:pt>
                <c:pt idx="23">
                  <c:v>590.99999999999989</c:v>
                </c:pt>
                <c:pt idx="24">
                  <c:v>590.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3064-4A37-AC6E-814BB7859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87776"/>
        <c:axId val="811586992"/>
      </c:lineChart>
      <c:catAx>
        <c:axId val="8115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11586992"/>
        <c:crosses val="autoZero"/>
        <c:auto val="1"/>
        <c:lblAlgn val="ctr"/>
        <c:lblOffset val="100"/>
        <c:noMultiLvlLbl val="0"/>
      </c:catAx>
      <c:valAx>
        <c:axId val="811586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811587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numRef>
              <c:f>Grafici!$D$18:$AB$18</c:f>
              <c:numCache>
                <c:formatCode>General</c:formatCode>
                <c:ptCount val="2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</c:numCache>
            </c:numRef>
          </c:cat>
          <c:val>
            <c:numRef>
              <c:f>Grafici!$D$30:$AB$30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96</c:v>
                </c:pt>
                <c:pt idx="15">
                  <c:v>96</c:v>
                </c:pt>
                <c:pt idx="16">
                  <c:v>136.30000000000001</c:v>
                </c:pt>
                <c:pt idx="17">
                  <c:v>209.70000000000002</c:v>
                </c:pt>
                <c:pt idx="18">
                  <c:v>292.89999999999998</c:v>
                </c:pt>
                <c:pt idx="19">
                  <c:v>378.09999999999997</c:v>
                </c:pt>
                <c:pt idx="20">
                  <c:v>478.69999999999993</c:v>
                </c:pt>
                <c:pt idx="21">
                  <c:v>572.99999999999989</c:v>
                </c:pt>
                <c:pt idx="22">
                  <c:v>590.99999999999989</c:v>
                </c:pt>
                <c:pt idx="23">
                  <c:v>590.99999999999989</c:v>
                </c:pt>
                <c:pt idx="24">
                  <c:v>590.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4-4A37-AC6E-814BB7859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1588168"/>
        <c:axId val="811592088"/>
      </c:barChart>
      <c:lineChart>
        <c:grouping val="standard"/>
        <c:varyColors val="0"/>
        <c:ser>
          <c:idx val="2"/>
          <c:order val="1"/>
          <c:spPr>
            <a:ln w="25400" cap="rnd">
              <a:noFill/>
              <a:round/>
            </a:ln>
            <a:effectLst/>
          </c:spPr>
          <c:marker>
            <c:symbol val="none"/>
          </c:marker>
          <c:val>
            <c:numRef>
              <c:f>Grafici!$D$32:$AB$32</c:f>
              <c:numCache>
                <c:formatCode>General</c:formatCode>
                <c:ptCount val="2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96</c:v>
                </c:pt>
                <c:pt idx="14">
                  <c:v>96</c:v>
                </c:pt>
                <c:pt idx="15">
                  <c:v>136.30000000000001</c:v>
                </c:pt>
                <c:pt idx="16">
                  <c:v>209.70000000000002</c:v>
                </c:pt>
                <c:pt idx="17">
                  <c:v>292.89999999999998</c:v>
                </c:pt>
                <c:pt idx="18">
                  <c:v>378.09999999999997</c:v>
                </c:pt>
                <c:pt idx="19">
                  <c:v>478.69999999999993</c:v>
                </c:pt>
                <c:pt idx="20">
                  <c:v>572.99999999999989</c:v>
                </c:pt>
                <c:pt idx="21">
                  <c:v>590.99999999999989</c:v>
                </c:pt>
                <c:pt idx="22">
                  <c:v>590.99999999999989</c:v>
                </c:pt>
                <c:pt idx="23">
                  <c:v>590.99999999999989</c:v>
                </c:pt>
                <c:pt idx="24">
                  <c:v>590.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3064-4A37-AC6E-814BB7859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88168"/>
        <c:axId val="811592088"/>
      </c:lineChart>
      <c:lineChart>
        <c:grouping val="standard"/>
        <c:varyColors val="0"/>
        <c:ser>
          <c:idx val="3"/>
          <c:order val="2"/>
          <c:tx>
            <c:strRef>
              <c:f>Grafici!$C$5</c:f>
              <c:strCache>
                <c:ptCount val="1"/>
                <c:pt idx="0">
                  <c:v>SO2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val>
            <c:numRef>
              <c:f>Grafici!$D$5:$AB$5</c:f>
              <c:numCache>
                <c:formatCode>General</c:formatCode>
                <c:ptCount val="25"/>
                <c:pt idx="0">
                  <c:v>339595.36</c:v>
                </c:pt>
                <c:pt idx="1">
                  <c:v>361155</c:v>
                </c:pt>
                <c:pt idx="2">
                  <c:v>250013</c:v>
                </c:pt>
                <c:pt idx="3">
                  <c:v>227602</c:v>
                </c:pt>
                <c:pt idx="4">
                  <c:v>231330</c:v>
                </c:pt>
                <c:pt idx="5">
                  <c:v>263543</c:v>
                </c:pt>
                <c:pt idx="6">
                  <c:v>319252</c:v>
                </c:pt>
                <c:pt idx="7">
                  <c:v>326020</c:v>
                </c:pt>
                <c:pt idx="8">
                  <c:v>369924.8</c:v>
                </c:pt>
                <c:pt idx="9">
                  <c:v>330855</c:v>
                </c:pt>
                <c:pt idx="10">
                  <c:v>341058</c:v>
                </c:pt>
                <c:pt idx="11">
                  <c:v>302542</c:v>
                </c:pt>
                <c:pt idx="12">
                  <c:v>329930.09000000003</c:v>
                </c:pt>
                <c:pt idx="13">
                  <c:v>368069</c:v>
                </c:pt>
                <c:pt idx="14">
                  <c:v>347695</c:v>
                </c:pt>
                <c:pt idx="15">
                  <c:v>354726.103</c:v>
                </c:pt>
                <c:pt idx="16">
                  <c:v>340000</c:v>
                </c:pt>
                <c:pt idx="17">
                  <c:v>223591.37613599998</c:v>
                </c:pt>
                <c:pt idx="18">
                  <c:v>228582.08705999999</c:v>
                </c:pt>
                <c:pt idx="19">
                  <c:v>142731.59398212843</c:v>
                </c:pt>
                <c:pt idx="20">
                  <c:v>134539.55928881909</c:v>
                </c:pt>
                <c:pt idx="21">
                  <c:v>18079.24099427335</c:v>
                </c:pt>
                <c:pt idx="22">
                  <c:v>17799.259835680092</c:v>
                </c:pt>
                <c:pt idx="23">
                  <c:v>18457.246026558219</c:v>
                </c:pt>
                <c:pt idx="24">
                  <c:v>17299.75978829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3064-4A37-AC6E-814BB7859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1592480"/>
        <c:axId val="811591696"/>
      </c:lineChart>
      <c:catAx>
        <c:axId val="811588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1592088"/>
        <c:crosses val="autoZero"/>
        <c:auto val="1"/>
        <c:lblAlgn val="ctr"/>
        <c:lblOffset val="100"/>
        <c:noMultiLvlLbl val="0"/>
      </c:catAx>
      <c:valAx>
        <c:axId val="81159208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11588168"/>
        <c:crosses val="autoZero"/>
        <c:crossBetween val="between"/>
      </c:valAx>
      <c:valAx>
        <c:axId val="811591696"/>
        <c:scaling>
          <c:orientation val="minMax"/>
          <c:max val="40000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n-US"/>
          </a:p>
        </c:txPr>
        <c:crossAx val="811592480"/>
        <c:crosses val="max"/>
        <c:crossBetween val="between"/>
      </c:valAx>
      <c:catAx>
        <c:axId val="811592480"/>
        <c:scaling>
          <c:orientation val="minMax"/>
        </c:scaling>
        <c:delete val="1"/>
        <c:axPos val="b"/>
        <c:majorTickMark val="out"/>
        <c:minorTickMark val="none"/>
        <c:tickLblPos val="nextTo"/>
        <c:crossAx val="811591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201276858840743E-2"/>
          <c:y val="4.6194202809414359E-2"/>
          <c:w val="0.96679872314115922"/>
          <c:h val="0.90761159438117123"/>
        </c:manualLayout>
      </c:layout>
      <c:lineChart>
        <c:grouping val="standard"/>
        <c:varyColors val="0"/>
        <c:ser>
          <c:idx val="1"/>
          <c:order val="0"/>
          <c:spPr>
            <a:ln w="28575" cap="rnd">
              <a:solidFill>
                <a:srgbClr val="C00000"/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sl5'!$B$1:$AC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'sl5'!$B$2:$AC$2</c:f>
              <c:numCache>
                <c:formatCode>General</c:formatCode>
                <c:ptCount val="28"/>
                <c:pt idx="0">
                  <c:v>70000</c:v>
                </c:pt>
                <c:pt idx="1">
                  <c:v>70000</c:v>
                </c:pt>
                <c:pt idx="2">
                  <c:v>70000</c:v>
                </c:pt>
                <c:pt idx="3">
                  <c:v>70000</c:v>
                </c:pt>
                <c:pt idx="4">
                  <c:v>70000</c:v>
                </c:pt>
                <c:pt idx="5">
                  <c:v>70000</c:v>
                </c:pt>
                <c:pt idx="6">
                  <c:v>70000</c:v>
                </c:pt>
                <c:pt idx="7">
                  <c:v>70000</c:v>
                </c:pt>
                <c:pt idx="8">
                  <c:v>70000</c:v>
                </c:pt>
                <c:pt idx="9">
                  <c:v>70000</c:v>
                </c:pt>
                <c:pt idx="10">
                  <c:v>70000</c:v>
                </c:pt>
                <c:pt idx="11">
                  <c:v>70000</c:v>
                </c:pt>
                <c:pt idx="12">
                  <c:v>68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4D-4256-A385-640EA6E2C097}"/>
            </c:ext>
          </c:extLst>
        </c:ser>
        <c:ser>
          <c:idx val="0"/>
          <c:order val="1"/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sl5'!$B$1:$AC$1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'sl5'!$C$3:$AC$3</c:f>
              <c:numCache>
                <c:formatCode>General</c:formatCode>
                <c:ptCount val="27"/>
                <c:pt idx="12">
                  <c:v>66621.72</c:v>
                </c:pt>
                <c:pt idx="13">
                  <c:v>65686</c:v>
                </c:pt>
                <c:pt idx="14">
                  <c:v>34983</c:v>
                </c:pt>
                <c:pt idx="15">
                  <c:v>19380.5</c:v>
                </c:pt>
                <c:pt idx="16">
                  <c:v>12197</c:v>
                </c:pt>
                <c:pt idx="17">
                  <c:v>23600</c:v>
                </c:pt>
                <c:pt idx="18">
                  <c:v>19327</c:v>
                </c:pt>
                <c:pt idx="19">
                  <c:v>18369</c:v>
                </c:pt>
                <c:pt idx="20">
                  <c:v>22814.84</c:v>
                </c:pt>
                <c:pt idx="21">
                  <c:v>21988.5</c:v>
                </c:pt>
                <c:pt idx="22">
                  <c:v>16241.19</c:v>
                </c:pt>
                <c:pt idx="23">
                  <c:v>8513.43</c:v>
                </c:pt>
                <c:pt idx="24">
                  <c:v>11849.93</c:v>
                </c:pt>
                <c:pt idx="25">
                  <c:v>12429.19</c:v>
                </c:pt>
                <c:pt idx="26">
                  <c:v>9453.368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4D-4256-A385-640EA6E2C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11536816"/>
        <c:axId val="811538776"/>
      </c:lineChart>
      <c:catAx>
        <c:axId val="8115368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1538776"/>
        <c:crosses val="autoZero"/>
        <c:auto val="1"/>
        <c:lblAlgn val="ctr"/>
        <c:lblOffset val="100"/>
        <c:noMultiLvlLbl val="0"/>
      </c:catAx>
      <c:valAx>
        <c:axId val="811538776"/>
        <c:scaling>
          <c:orientation val="minMax"/>
          <c:max val="100000"/>
        </c:scaling>
        <c:delete val="1"/>
        <c:axPos val="l"/>
        <c:numFmt formatCode="General" sourceLinked="1"/>
        <c:majorTickMark val="out"/>
        <c:minorTickMark val="none"/>
        <c:tickLblPos val="nextTo"/>
        <c:crossAx val="811536816"/>
        <c:crosses val="autoZero"/>
        <c:crossBetween val="between"/>
        <c:majorUnit val="5000"/>
        <c:minorUnit val="5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FD547D-F3C1-478F-B20F-43694E9E64E7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506A43-E1C1-439A-8E6C-6C3665EA9566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36003279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656B1-965A-4934-9DB6-7910F727D2E3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r-Latn-R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6788"/>
            <a:ext cx="5486400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156914-12B6-4290-806E-C1AE4BF50701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140981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083" y="4343913"/>
            <a:ext cx="5485439" cy="41143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965" tIns="45482" rIns="90965" bIns="45482"/>
          <a:lstStyle/>
          <a:p>
            <a:pPr eaLnBrk="1" hangingPunct="1">
              <a:spcBef>
                <a:spcPct val="0"/>
              </a:spcBef>
            </a:pPr>
            <a:endParaRPr lang="sr-Latn-CS" smtClean="0"/>
          </a:p>
        </p:txBody>
      </p:sp>
      <p:sp>
        <p:nvSpPr>
          <p:cNvPr id="32771" name="Slide Number Placeholder 3"/>
          <p:cNvSpPr txBox="1">
            <a:spLocks noGrp="1"/>
          </p:cNvSpPr>
          <p:nvPr/>
        </p:nvSpPr>
        <p:spPr bwMode="auto">
          <a:xfrm>
            <a:off x="3885454" y="8686362"/>
            <a:ext cx="2970946" cy="456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3" tIns="45691" rIns="91383" bIns="45691" anchor="b"/>
          <a:lstStyle/>
          <a:p>
            <a:pPr algn="r" defTabSz="909638"/>
            <a:fld id="{A9F0BD93-F388-478B-B4F1-3D660E57CFD4}" type="slidenum">
              <a:rPr lang="en-US" sz="1200" b="0">
                <a:latin typeface="Calibri" pitchFamily="34" charset="0"/>
              </a:rPr>
              <a:pPr algn="r" defTabSz="909638"/>
              <a:t>2</a:t>
            </a:fld>
            <a:endParaRPr lang="en-US" sz="1200" b="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628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0844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B4C438-F3A9-41EA-83CC-85C5390709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757D6D-902E-441B-955F-07DCDC3228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905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E61824-39C6-47D6-83A2-AD8854AF04B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803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E61824-39C6-47D6-83A2-AD8854AF04B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041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B4C438-F3A9-41EA-83CC-85C5390709A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757D6D-902E-441B-955F-07DCDC3228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954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084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516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72322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239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938E89-0C1A-4997-8CDC-1312BB9E515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8/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9C5AFD-F251-4650-93B7-2B970D67B03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755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979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477" dirty="0" smtClean="0">
                <a:solidFill>
                  <a:srgbClr val="003192"/>
                </a:solidFill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003192"/>
              </a:solidFill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247721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09054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954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>
            <a:normAutofit/>
          </a:bodyPr>
          <a:lstStyle>
            <a:lvl1pPr algn="l">
              <a:defRPr sz="2954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84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4709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6318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1318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50087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3417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2032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34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28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3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06554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477" dirty="0" smtClean="0">
                <a:solidFill>
                  <a:srgbClr val="003192"/>
                </a:solidFill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003192"/>
              </a:solidFill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5022013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71454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973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54761F6D-C678-4A77-A6A5-973ACEB35C49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7269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0049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053D16B7-F47A-4A85-9F58-9091C534646F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102935" cy="792088"/>
          </a:xfrm>
        </p:spPr>
        <p:txBody>
          <a:bodyPr anchor="b"/>
          <a:lstStyle>
            <a:lvl1pPr>
              <a:defRPr sz="2215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4821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latin typeface="+mn-lt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Javno preduzeć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 „</a:t>
            </a: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Elektroprivreda Srbij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“</a:t>
            </a:r>
            <a:endParaRPr lang="en-US" sz="1600" dirty="0"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959746" y="59248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214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Latn-RS" altLang="zh-CN" sz="1000" b="1" dirty="0" smtClean="0">
                  <a:solidFill>
                    <a:schemeClr val="bg1"/>
                  </a:solidFill>
                </a:rPr>
                <a:t>Poslovna tajna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265556A-3E6F-465A-B484-55157DDEFA50}" type="slidenum">
              <a:rPr lang="en-US" altLang="en-US" sz="1108" b="1" baseline="0">
                <a:solidFill>
                  <a:srgbClr val="1F497D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651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22885AC-EB62-4B15-9FDB-FD15F183CE8B}" type="slidenum">
              <a:rPr lang="en-US" altLang="en-US" sz="1108" b="1" baseline="0">
                <a:solidFill>
                  <a:srgbClr val="003296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003296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271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16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3109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746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472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FC0AD4-F29C-4870-84BC-6E7B33543BF1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850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94875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6C5BD0E2-2311-4E7D-98ED-CDFD37C0B545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031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031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772816"/>
            <a:ext cx="4041775" cy="439248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9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869FC4-EFBB-4F8B-88ED-8B8CE1F2BF2E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147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0747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565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061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 dirty="0"/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402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74C96-CF2D-4671-AAFB-2E2ACAFAF7AF}" type="datetimeFigureOut">
              <a:rPr lang="en-US" smtClean="0"/>
              <a:t>10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C25262-BF20-43DF-9D55-7783543758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0807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latin typeface="+mn-lt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Javno preduzeć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 „</a:t>
            </a: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Elektroprivreda Srbij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“</a:t>
            </a:r>
            <a:endParaRPr lang="en-US" sz="1600" dirty="0"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959746" y="59248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525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Latn-RS" altLang="zh-CN" sz="1000" b="1" dirty="0" smtClean="0">
                  <a:solidFill>
                    <a:schemeClr val="bg1"/>
                  </a:solidFill>
                </a:rPr>
                <a:t>Poslovna tajna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265556A-3E6F-465A-B484-55157DDEFA50}" type="slidenum">
              <a:rPr lang="en-US" altLang="en-US" sz="1108" b="1" baseline="0">
                <a:solidFill>
                  <a:srgbClr val="1F497D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321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22885AC-EB62-4B15-9FDB-FD15F183CE8B}" type="slidenum">
              <a:rPr lang="en-US" altLang="en-US" sz="1108" b="1" baseline="0">
                <a:solidFill>
                  <a:srgbClr val="003296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003296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29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71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053D16B7-F47A-4A85-9F58-9091C534646F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102935" cy="864096"/>
          </a:xfrm>
        </p:spPr>
        <p:txBody>
          <a:bodyPr anchor="b"/>
          <a:lstStyle>
            <a:lvl1pPr>
              <a:defRPr sz="2215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8763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50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862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439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FC0AD4-F29C-4870-84BC-6E7B33543BF1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672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869FC4-EFBB-4F8B-88ED-8B8CE1F2BF2E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6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8227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880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5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 dirty="0"/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952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74C96-CF2D-4671-AAFB-2E2ACAFAF7AF}" type="datetimeFigureOut">
              <a:rPr lang="en-US" smtClean="0"/>
              <a:t>10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C25262-BF20-43DF-9D55-7783543758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30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9D891E1B-349F-456E-B319-F71912874E53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4575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latin typeface="+mn-lt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Javno preduzeć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 „</a:t>
            </a:r>
            <a:r>
              <a:rPr lang="sr-Latn-RS" sz="1600" dirty="0" smtClean="0">
                <a:latin typeface="Arial Narrow" panose="020B0606020202030204" pitchFamily="34" charset="0"/>
                <a:cs typeface="Arial" charset="0"/>
              </a:rPr>
              <a:t>Elektroprivreda Srbije</a:t>
            </a:r>
            <a:r>
              <a:rPr lang="x-none" sz="1600" dirty="0" smtClean="0">
                <a:latin typeface="Arial Narrow" panose="020B0606020202030204" pitchFamily="34" charset="0"/>
                <a:cs typeface="Arial" charset="0"/>
              </a:rPr>
              <a:t>“</a:t>
            </a:r>
            <a:endParaRPr lang="en-US" sz="1600" dirty="0"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959746" y="59248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2159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Latn-RS" altLang="zh-CN" sz="1000" b="1" dirty="0" smtClean="0">
                  <a:solidFill>
                    <a:schemeClr val="bg1"/>
                  </a:solidFill>
                </a:rPr>
                <a:t>Poslovna tajna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265556A-3E6F-465A-B484-55157DDEFA50}" type="slidenum">
              <a:rPr lang="en-US" altLang="en-US" sz="1108" b="1" baseline="0">
                <a:solidFill>
                  <a:srgbClr val="1F497D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04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22885AC-EB62-4B15-9FDB-FD15F183CE8B}" type="slidenum">
              <a:rPr lang="en-US" altLang="en-US" sz="1108" b="1" baseline="0">
                <a:solidFill>
                  <a:srgbClr val="003296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baseline="0" dirty="0">
              <a:solidFill>
                <a:srgbClr val="003296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08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463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/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9798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246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215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FC0AD4-F29C-4870-84BC-6E7B33543BF1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524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869FC4-EFBB-4F8B-88ED-8B8CE1F2BF2E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61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521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48868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84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8E5D24CE-1904-4AA6-96DE-25C6D1799728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3008313" cy="79208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3008313" cy="4410574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006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278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95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 dirty="0"/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34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74C96-CF2D-4671-AAFB-2E2ACAFAF7AF}" type="datetimeFigureOut">
              <a:rPr lang="en-US" smtClean="0"/>
              <a:t>10/2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C25262-BF20-43DF-9D55-7783543758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8257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4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28079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886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12038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1681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313760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635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A1261F1C-2516-45C2-898A-9A59EB730830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5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72115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63355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55846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59520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74443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1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6" indent="0">
              <a:buNone/>
              <a:defRPr sz="2800"/>
            </a:lvl2pPr>
            <a:lvl3pPr marL="914390" indent="0">
              <a:buNone/>
              <a:defRPr sz="2400"/>
            </a:lvl3pPr>
            <a:lvl4pPr marL="1371584" indent="0">
              <a:buNone/>
              <a:defRPr sz="2000"/>
            </a:lvl4pPr>
            <a:lvl5pPr marL="1828778" indent="0">
              <a:buNone/>
              <a:defRPr sz="2000"/>
            </a:lvl5pPr>
            <a:lvl6pPr marL="2285974" indent="0">
              <a:buNone/>
              <a:defRPr sz="2000"/>
            </a:lvl6pPr>
            <a:lvl7pPr marL="2743169" indent="0">
              <a:buNone/>
              <a:defRPr sz="2000"/>
            </a:lvl7pPr>
            <a:lvl8pPr marL="3200363" indent="0">
              <a:buNone/>
              <a:defRPr sz="2000"/>
            </a:lvl8pPr>
            <a:lvl9pPr marL="365755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6694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86298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6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8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8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52063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34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30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5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31435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422265037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17520338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423518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CFAB59F2-B116-4C13-A8C0-45C4F82C45C5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881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62864611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32283269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211825342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264848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266600831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9721576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310213066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291543660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36902544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34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28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3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415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68338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Vertical Title 1"/>
          <p:cNvSpPr txBox="1">
            <a:spLocks/>
          </p:cNvSpPr>
          <p:nvPr userDrawn="1"/>
        </p:nvSpPr>
        <p:spPr>
          <a:xfrm>
            <a:off x="8229600" y="1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585"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0144F36-C45A-4C74-BE32-E2B38D21FC2B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42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42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507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sr-Latn-RS" sz="1600" dirty="0" smtClean="0">
                <a:solidFill>
                  <a:srgbClr val="366092"/>
                </a:solidFill>
                <a:latin typeface="Arial Narrow" panose="020B0606020202030204" pitchFamily="34" charset="0"/>
                <a:cs typeface="Arial" charset="0"/>
              </a:rPr>
              <a:t>Javno preduzeće</a:t>
            </a:r>
            <a:r>
              <a:rPr lang="x-none" sz="1600" dirty="0" smtClean="0">
                <a:solidFill>
                  <a:srgbClr val="366092"/>
                </a:solidFill>
                <a:latin typeface="Arial Narrow" panose="020B0606020202030204" pitchFamily="34" charset="0"/>
                <a:cs typeface="Arial" charset="0"/>
              </a:rPr>
              <a:t> „</a:t>
            </a:r>
            <a:r>
              <a:rPr lang="sr-Latn-RS" sz="1600" dirty="0" smtClean="0">
                <a:solidFill>
                  <a:srgbClr val="366092"/>
                </a:solidFill>
                <a:latin typeface="Arial Narrow" panose="020B0606020202030204" pitchFamily="34" charset="0"/>
                <a:cs typeface="Arial" charset="0"/>
              </a:rPr>
              <a:t>Elektroprivreda Srbije</a:t>
            </a:r>
            <a:r>
              <a:rPr lang="x-none" sz="1600" dirty="0" smtClean="0">
                <a:solidFill>
                  <a:srgbClr val="366092"/>
                </a:solidFill>
                <a:latin typeface="Arial Narrow" panose="020B0606020202030204" pitchFamily="34" charset="0"/>
                <a:cs typeface="Arial" charset="0"/>
              </a:rPr>
              <a:t>“</a:t>
            </a:r>
            <a:endParaRPr lang="en-US" sz="1600" dirty="0">
              <a:solidFill>
                <a:srgbClr val="366092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959746" y="59248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4285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Latn-RS" altLang="zh-CN" sz="1000" b="1" dirty="0" smtClean="0">
                  <a:solidFill>
                    <a:srgbClr val="FFFFFF"/>
                  </a:solidFill>
                </a:rPr>
                <a:t>Poslovna tajna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265556A-3E6F-465A-B484-55157DDEFA50}" type="slidenum">
              <a:rPr lang="en-US" altLang="en-US" sz="1108" b="1">
                <a:solidFill>
                  <a:srgbClr val="1F497D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dirty="0">
              <a:solidFill>
                <a:srgbClr val="1F497D"/>
              </a:solidFill>
              <a:latin typeface="Arial Narrow" panose="020B0606020202030204" pitchFamily="34" charset="0"/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063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22885AC-EB62-4B15-9FDB-FD15F183CE8B}" type="slidenum">
              <a:rPr lang="en-US" altLang="en-US" sz="1108" b="1">
                <a:solidFill>
                  <a:srgbClr val="003296"/>
                </a:solidFill>
                <a:latin typeface="Arial Narrow" panose="020B0606020202030204" pitchFamily="34" charset="0"/>
              </a:rPr>
              <a:pPr algn="ctr" eaLnBrk="1" hangingPunct="1"/>
              <a:t>‹#›</a:t>
            </a:fld>
            <a:endParaRPr lang="en-US" altLang="en-US" sz="1108" b="1" dirty="0">
              <a:solidFill>
                <a:srgbClr val="003296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40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031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1846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48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098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FC0AD4-F29C-4870-84BC-6E7B33543BF1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308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6869FC4-EFBB-4F8B-88ED-8B8CE1F2BF2E}" type="slidenum">
              <a:rPr lang="en-US" altLang="en-US" sz="1015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15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806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0488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73F335B-0066-4AC5-A5D6-CECD1A759FC0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031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031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772816"/>
            <a:ext cx="4041775" cy="4392488"/>
          </a:xfrm>
        </p:spPr>
        <p:txBody>
          <a:bodyPr/>
          <a:lstStyle>
            <a:lvl1pPr>
              <a:defRPr sz="1846"/>
            </a:lvl1pPr>
            <a:lvl2pPr>
              <a:defRPr sz="1662"/>
            </a:lvl2pPr>
            <a:lvl3pPr>
              <a:defRPr sz="1477"/>
            </a:lvl3pPr>
            <a:lvl4pPr>
              <a:defRPr sz="1292"/>
            </a:lvl4pPr>
            <a:lvl5pPr>
              <a:defRPr sz="1108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24548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7187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662" dirty="0">
                <a:solidFill>
                  <a:srgbClr val="1F497D"/>
                </a:solidFill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34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278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34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28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3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689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539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215"/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74C96-CF2D-4671-AAFB-2E2ACAFAF7AF}" type="datetimeFigureOut">
              <a:rPr lang="en-US">
                <a:solidFill>
                  <a:srgbClr val="1F497D"/>
                </a:solidFill>
              </a:rPr>
              <a:pPr/>
              <a:t>10/28/2019</a:t>
            </a:fld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C25262-BF20-43DF-9D55-7783543758D8}" type="slidenum">
              <a:rPr lang="en-US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11482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477" dirty="0" smtClean="0">
                <a:solidFill>
                  <a:srgbClr val="003192"/>
                </a:solidFill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003192"/>
              </a:solidFill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367768701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23240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08274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8378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053D16B7-F47A-4A85-9F58-9091C534646F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102935" cy="792088"/>
          </a:xfrm>
        </p:spPr>
        <p:txBody>
          <a:bodyPr anchor="b"/>
          <a:lstStyle>
            <a:lvl1pPr>
              <a:defRPr sz="2215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802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155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477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8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215" b="1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292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25782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34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28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3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110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/>
          <p:nvPr>
            <p:extLst>
              <p:ext uri="{D42A27DB-BD31-4B8C-83A1-F6EECF244321}">
                <p14:modId xmlns:p14="http://schemas.microsoft.com/office/powerpoint/2010/main" val="102554922"/>
              </p:ext>
            </p:extLst>
          </p:nvPr>
        </p:nvGraphicFramePr>
        <p:xfrm>
          <a:off x="1471" y="1601"/>
          <a:ext cx="1467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8" name="think-cell Slide" r:id="rId3" imgW="12694" imgH="12700" progId="TCLayout.ActiveDocument.1">
                  <p:embed/>
                </p:oleObj>
              </mc:Choice>
              <mc:Fallback>
                <p:oleObj name="think-cell Slide" r:id="rId3" imgW="12694" imgH="127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71" y="1601"/>
                        <a:ext cx="1467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/>
          <p:nvPr/>
        </p:nvSpPr>
        <p:spPr>
          <a:xfrm>
            <a:off x="6" y="0"/>
            <a:ext cx="9143997" cy="914400"/>
          </a:xfrm>
          <a:prstGeom prst="rect">
            <a:avLst/>
          </a:prstGeom>
          <a:solidFill>
            <a:srgbClr val="003192"/>
          </a:solidFill>
          <a:ln>
            <a:noFill/>
            <a:prstDash val="solid"/>
          </a:ln>
        </p:spPr>
        <p:txBody>
          <a:bodyPr vert="horz" wrap="square" lIns="63305" tIns="31652" rIns="63305" bIns="31652" anchor="ctr" anchorCtr="1" compatLnSpc="1"/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246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 txBox="1"/>
          <p:nvPr/>
        </p:nvSpPr>
        <p:spPr>
          <a:xfrm>
            <a:off x="8604742" y="6448442"/>
            <a:ext cx="468923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63305" tIns="31652" rIns="63305" bIns="31652" anchor="ctr" anchorCtr="1" compatLnSpc="1"/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630B8221-F7E5-4FC4-BDAE-C2039EBCF6C1}" type="slidenum">
              <a:rPr sz="1100" b="1" ker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#›</a:t>
            </a:fld>
            <a:endParaRPr lang="en-US" sz="11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8" descr="znak-EPS_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74738" y="6381753"/>
            <a:ext cx="332640" cy="36671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le 1"/>
          <p:cNvSpPr txBox="1">
            <a:spLocks noGrp="1"/>
          </p:cNvSpPr>
          <p:nvPr>
            <p:ph type="title"/>
          </p:nvPr>
        </p:nvSpPr>
        <p:spPr>
          <a:xfrm>
            <a:off x="457203" y="44624"/>
            <a:ext cx="7664899" cy="79208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0426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9568" y="2225041"/>
            <a:ext cx="7772400" cy="1079743"/>
          </a:xfrm>
        </p:spPr>
        <p:txBody>
          <a:bodyPr tIns="18288" bIns="18288">
            <a:noAutofit/>
          </a:bodyPr>
          <a:lstStyle>
            <a:lvl1pPr>
              <a:defRPr sz="276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477" dirty="0" smtClean="0">
                <a:solidFill>
                  <a:srgbClr val="003192"/>
                </a:solidFill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003192"/>
              </a:solidFill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9568" y="3334657"/>
            <a:ext cx="6400800" cy="832536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585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9568" y="5755028"/>
            <a:ext cx="3554604" cy="320985"/>
          </a:xfrm>
        </p:spPr>
        <p:txBody>
          <a:bodyPr wrap="square" tIns="18288" bIns="18288">
            <a:spAutoFit/>
          </a:bodyPr>
          <a:lstStyle>
            <a:lvl1pPr>
              <a:defRPr sz="1846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3044735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2706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169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8828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4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89494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871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564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5872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01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803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8474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5083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72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34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56876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1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6" indent="0">
              <a:buNone/>
              <a:defRPr sz="2800"/>
            </a:lvl2pPr>
            <a:lvl3pPr marL="914390" indent="0">
              <a:buNone/>
              <a:defRPr sz="2400"/>
            </a:lvl3pPr>
            <a:lvl4pPr marL="1371584" indent="0">
              <a:buNone/>
              <a:defRPr sz="2000"/>
            </a:lvl4pPr>
            <a:lvl5pPr marL="1828778" indent="0">
              <a:buNone/>
              <a:defRPr sz="2000"/>
            </a:lvl5pPr>
            <a:lvl6pPr marL="2285974" indent="0">
              <a:buNone/>
              <a:defRPr sz="2000"/>
            </a:lvl6pPr>
            <a:lvl7pPr marL="2743169" indent="0">
              <a:buNone/>
              <a:defRPr sz="2000"/>
            </a:lvl7pPr>
            <a:lvl8pPr marL="3200363" indent="0">
              <a:buNone/>
              <a:defRPr sz="2000"/>
            </a:lvl8pPr>
            <a:lvl9pPr marL="365755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138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17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6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8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8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0129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3867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2296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22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9615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2691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1071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89003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85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64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5887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6824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9130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39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5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8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5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3714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2875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215" b="1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7265556A-3E6F-465A-B484-55157DDEFA50}" type="slidenum">
              <a:rPr lang="en-US" altLang="en-US" sz="1000" b="1">
                <a:solidFill>
                  <a:srgbClr val="003296"/>
                </a:solidFill>
              </a:rPr>
              <a:pPr algn="ctr" eaLnBrk="1" hangingPunct="1"/>
              <a:t>‹#›</a:t>
            </a:fld>
            <a:endParaRPr lang="en-US" altLang="en-US" sz="10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40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3733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4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6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6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662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4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19172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7761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79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3164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1705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22310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4614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4353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424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84805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3200" tIns="43200" rIns="43200" bIns="432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477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477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43900" y="228601"/>
            <a:ext cx="6096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8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215" b="1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292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8972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7970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07923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1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6" indent="0">
              <a:buNone/>
              <a:defRPr sz="2800"/>
            </a:lvl2pPr>
            <a:lvl3pPr marL="914390" indent="0">
              <a:buNone/>
              <a:defRPr sz="2400"/>
            </a:lvl3pPr>
            <a:lvl4pPr marL="1371584" indent="0">
              <a:buNone/>
              <a:defRPr sz="2000"/>
            </a:lvl4pPr>
            <a:lvl5pPr marL="1828778" indent="0">
              <a:buNone/>
              <a:defRPr sz="2000"/>
            </a:lvl5pPr>
            <a:lvl6pPr marL="2285974" indent="0">
              <a:buNone/>
              <a:defRPr sz="2000"/>
            </a:lvl6pPr>
            <a:lvl7pPr marL="2743169" indent="0">
              <a:buNone/>
              <a:defRPr sz="2000"/>
            </a:lvl7pPr>
            <a:lvl8pPr marL="3200363" indent="0">
              <a:buNone/>
              <a:defRPr sz="2000"/>
            </a:lvl8pPr>
            <a:lvl9pPr marL="365755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5430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8479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6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8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8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561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34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30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5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5622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4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2274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84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3706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8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82057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162" y="117475"/>
            <a:ext cx="9144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altLang="zh-CN" sz="923" b="1" dirty="0" smtClean="0">
                  <a:solidFill>
                    <a:prstClr val="white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A1CE239C-4BFA-4FFD-8001-4D9343E30CFF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466" y="1588"/>
            <a:ext cx="1466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2479291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4964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5738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2765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0575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9027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06805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1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6" indent="0">
              <a:buNone/>
              <a:defRPr sz="2800"/>
            </a:lvl2pPr>
            <a:lvl3pPr marL="914390" indent="0">
              <a:buNone/>
              <a:defRPr sz="2400"/>
            </a:lvl3pPr>
            <a:lvl4pPr marL="1371584" indent="0">
              <a:buNone/>
              <a:defRPr sz="2000"/>
            </a:lvl4pPr>
            <a:lvl5pPr marL="1828778" indent="0">
              <a:buNone/>
              <a:defRPr sz="2000"/>
            </a:lvl5pPr>
            <a:lvl6pPr marL="2285974" indent="0">
              <a:buNone/>
              <a:defRPr sz="2000"/>
            </a:lvl6pPr>
            <a:lvl7pPr marL="2743169" indent="0">
              <a:buNone/>
              <a:defRPr sz="2000"/>
            </a:lvl7pPr>
            <a:lvl8pPr marL="3200363" indent="0">
              <a:buNone/>
              <a:defRPr sz="2000"/>
            </a:lvl8pPr>
            <a:lvl9pPr marL="365755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9072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8561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6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8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8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4941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4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233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08205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7740162" y="117475"/>
            <a:ext cx="1371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ИНТЕРНА УПОТРЕБА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AFBF56-9CEE-4D93-8F77-97480B54EF62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67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487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2613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3914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6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99826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3606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6" indent="0">
              <a:buNone/>
              <a:defRPr sz="2000" b="1"/>
            </a:lvl2pPr>
            <a:lvl3pPr marL="914390" indent="0">
              <a:buNone/>
              <a:defRPr sz="1800" b="1"/>
            </a:lvl3pPr>
            <a:lvl4pPr marL="1371584" indent="0">
              <a:buNone/>
              <a:defRPr sz="1600" b="1"/>
            </a:lvl4pPr>
            <a:lvl5pPr marL="1828778" indent="0">
              <a:buNone/>
              <a:defRPr sz="1600" b="1"/>
            </a:lvl5pPr>
            <a:lvl6pPr marL="2285974" indent="0">
              <a:buNone/>
              <a:defRPr sz="1600" b="1"/>
            </a:lvl6pPr>
            <a:lvl7pPr marL="2743169" indent="0">
              <a:buNone/>
              <a:defRPr sz="1600" b="1"/>
            </a:lvl7pPr>
            <a:lvl8pPr marL="3200363" indent="0">
              <a:buNone/>
              <a:defRPr sz="1600" b="1"/>
            </a:lvl8pPr>
            <a:lvl9pPr marL="3657558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6997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FFC0AD4-F29C-4870-84BC-6E7B33543BF1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7274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3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E6869FC4-EFBB-4F8B-88ED-8B8CE1F2BF2E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55277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F4DF0B43-28A7-4642-9A66-8219D68CD702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980728"/>
            <a:ext cx="3008313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980728"/>
            <a:ext cx="5111750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772816"/>
            <a:ext cx="3008313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3022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CD6FEEE-8EBB-4AEA-8E21-1D64D0EF09B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2741"/>
            <a:ext cx="54864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96" indent="0">
              <a:buNone/>
              <a:defRPr sz="2800"/>
            </a:lvl2pPr>
            <a:lvl3pPr marL="914390" indent="0">
              <a:buNone/>
              <a:defRPr sz="2400"/>
            </a:lvl3pPr>
            <a:lvl4pPr marL="1371584" indent="0">
              <a:buNone/>
              <a:defRPr sz="2000"/>
            </a:lvl4pPr>
            <a:lvl5pPr marL="1828778" indent="0">
              <a:buNone/>
              <a:defRPr sz="2000"/>
            </a:lvl5pPr>
            <a:lvl6pPr marL="2285974" indent="0">
              <a:buNone/>
              <a:defRPr sz="2000"/>
            </a:lvl6pPr>
            <a:lvl7pPr marL="2743169" indent="0">
              <a:buNone/>
              <a:defRPr sz="2000"/>
            </a:lvl7pPr>
            <a:lvl8pPr marL="3200363" indent="0">
              <a:buNone/>
              <a:defRPr sz="2000"/>
            </a:lvl8pPr>
            <a:lvl9pPr marL="3657558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6" indent="0">
              <a:buNone/>
              <a:defRPr sz="1200"/>
            </a:lvl2pPr>
            <a:lvl3pPr marL="914390" indent="0">
              <a:buNone/>
              <a:defRPr sz="1000"/>
            </a:lvl3pPr>
            <a:lvl4pPr marL="1371584" indent="0">
              <a:buNone/>
              <a:defRPr sz="900"/>
            </a:lvl4pPr>
            <a:lvl5pPr marL="1828778" indent="0">
              <a:buNone/>
              <a:defRPr sz="900"/>
            </a:lvl5pPr>
            <a:lvl6pPr marL="2285974" indent="0">
              <a:buNone/>
              <a:defRPr sz="900"/>
            </a:lvl6pPr>
            <a:lvl7pPr marL="2743169" indent="0">
              <a:buNone/>
              <a:defRPr sz="900"/>
            </a:lvl7pPr>
            <a:lvl8pPr marL="3200363" indent="0">
              <a:buNone/>
              <a:defRPr sz="900"/>
            </a:lvl8pPr>
            <a:lvl9pPr marL="3657558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0669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773977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02112" y="117475"/>
            <a:ext cx="1006719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sr-Cyrl-RS" altLang="zh-CN" sz="923" b="1" smtClean="0">
                  <a:solidFill>
                    <a:prstClr val="white"/>
                  </a:solidFill>
                </a:rPr>
                <a:t>ЗА ДИСКУСИЈУ</a:t>
              </a:r>
              <a:endParaRPr lang="en-US" altLang="zh-CN" sz="923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CC4285BB-3BDE-4080-AC53-9E3185BC17A3}" type="slidenum">
              <a:rPr lang="en-US" altLang="en-US" sz="1108" b="1" smtClean="0">
                <a:solidFill>
                  <a:srgbClr val="0032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108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17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402EBC6-D66D-485A-8583-9CC9EFECC4C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80728"/>
            <a:ext cx="82296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4624"/>
            <a:ext cx="766445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82853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229600" y="6"/>
            <a:ext cx="9144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0"/>
              </a:spcBef>
              <a:spcAft>
                <a:spcPct val="0"/>
              </a:spcAft>
              <a:defRPr/>
            </a:pPr>
            <a:endParaRPr sz="2800">
              <a:solidFill>
                <a:srgbClr val="FFFFFF"/>
              </a:solidFill>
            </a:endParaRPr>
          </a:p>
        </p:txBody>
      </p:sp>
      <p:pic>
        <p:nvPicPr>
          <p:cNvPr id="5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6" y="6381756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/>
          <p:cNvSpPr txBox="1">
            <a:spLocks/>
          </p:cNvSpPr>
          <p:nvPr userDrawn="1"/>
        </p:nvSpPr>
        <p:spPr bwMode="auto">
          <a:xfrm>
            <a:off x="8604251" y="6448431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9267C8F-6ED7-4BF8-A89F-E543A4BD289D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2" y="116638"/>
            <a:ext cx="7643192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9600" y="116638"/>
            <a:ext cx="878904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73087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8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93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534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39" y="6448430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92FD9B2-1164-4013-9925-E8A2EA7645B6}" type="slidenum">
              <a:rPr lang="en-US" altLang="en-US" sz="1023" b="1" smtClean="0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023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5" y="6381755"/>
            <a:ext cx="33264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2525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14350" y="3883821"/>
            <a:ext cx="862965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662" dirty="0">
              <a:solidFill>
                <a:srgbClr val="1F497D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366092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366092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2"/>
            <a:ext cx="77724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436097" y="6093296"/>
            <a:ext cx="3384154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51842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7265556A-3E6F-465A-B484-55157DDEFA50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6489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3067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7740650" y="117475"/>
            <a:ext cx="1371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ИНТЕРНА УПОТРЕБА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C22885AC-EB62-4B15-9FDB-FD15F183CE8B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283152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1913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102601" y="117475"/>
            <a:ext cx="1006475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ЗА ДИСКУСИЈУ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2BC30BE5-29A6-4F28-92CB-FD068CE519F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64546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8691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4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2789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C8CD298-1E5A-4F7A-9615-8F6A64ACA0D4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4522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121650" y="117475"/>
            <a:ext cx="9144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sr-Cyrl-RS" altLang="zh-CN" sz="1000" b="1">
                  <a:solidFill>
                    <a:srgbClr val="FFFFFF"/>
                  </a:solidFill>
                </a:rPr>
                <a:t>ПОВЕРЉИВО</a:t>
              </a:r>
              <a:endParaRPr lang="en-US" altLang="zh-CN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5" y="6381754"/>
            <a:ext cx="33337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8604251" y="6448429"/>
            <a:ext cx="4699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D80F7CE7-D492-4A60-94FF-8068D6F0086A}" type="slidenum">
              <a:rPr lang="en-US" altLang="en-US" sz="1200" b="1">
                <a:solidFill>
                  <a:srgbClr val="003296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1046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72816"/>
            <a:ext cx="4040188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061046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198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5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2816"/>
            <a:ext cx="4041775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7518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773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slideLayout" Target="../slideLayouts/slideLayout109.xml"/><Relationship Id="rId7" Type="http://schemas.openxmlformats.org/officeDocument/2006/relationships/vmlDrawing" Target="../drawings/vmlDrawing40.v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theme" Target="../theme/theme1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0.xml"/><Relationship Id="rId9" Type="http://schemas.openxmlformats.org/officeDocument/2006/relationships/oleObject" Target="../embeddings/oleObject40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13.xml"/><Relationship Id="rId16" Type="http://schemas.openxmlformats.org/officeDocument/2006/relationships/vmlDrawing" Target="../drawings/vmlDrawing43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21.xml"/><Relationship Id="rId19" Type="http://schemas.openxmlformats.org/officeDocument/2006/relationships/oleObject" Target="../embeddings/oleObject43.bin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tags" Target="../tags/tag65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tags" Target="../tags/tag64.xml"/><Relationship Id="rId2" Type="http://schemas.openxmlformats.org/officeDocument/2006/relationships/slideLayout" Target="../slideLayouts/slideLayout127.xml"/><Relationship Id="rId16" Type="http://schemas.openxmlformats.org/officeDocument/2006/relationships/vmlDrawing" Target="../drawings/vmlDrawing46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35.xml"/><Relationship Id="rId19" Type="http://schemas.openxmlformats.org/officeDocument/2006/relationships/oleObject" Target="../embeddings/oleObject46.bin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tags" Target="../tags/tag69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tags" Target="../tags/tag68.xml"/><Relationship Id="rId2" Type="http://schemas.openxmlformats.org/officeDocument/2006/relationships/slideLayout" Target="../slideLayouts/slideLayout141.xml"/><Relationship Id="rId16" Type="http://schemas.openxmlformats.org/officeDocument/2006/relationships/vmlDrawing" Target="../drawings/vmlDrawing49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9.xml"/><Relationship Id="rId19" Type="http://schemas.openxmlformats.org/officeDocument/2006/relationships/oleObject" Target="../embeddings/oleObject49.bin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tags" Target="../tags/tag73.xml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tags" Target="../tags/tag72.xml"/><Relationship Id="rId2" Type="http://schemas.openxmlformats.org/officeDocument/2006/relationships/slideLayout" Target="../slideLayouts/slideLayout155.xml"/><Relationship Id="rId16" Type="http://schemas.openxmlformats.org/officeDocument/2006/relationships/vmlDrawing" Target="../drawings/vmlDrawing52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63.xml"/><Relationship Id="rId19" Type="http://schemas.openxmlformats.org/officeDocument/2006/relationships/oleObject" Target="../embeddings/oleObject52.bin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heme" Target="../theme/theme15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oleObject" Target="../embeddings/oleObject56.bin"/><Relationship Id="rId2" Type="http://schemas.openxmlformats.org/officeDocument/2006/relationships/slideLayout" Target="../slideLayouts/slideLayout169.xml"/><Relationship Id="rId16" Type="http://schemas.openxmlformats.org/officeDocument/2006/relationships/tags" Target="../tags/tag78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tags" Target="../tags/tag77.x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vmlDrawing" Target="../drawings/vmlDrawing56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tags" Target="../tags/tag80.xml"/><Relationship Id="rId3" Type="http://schemas.openxmlformats.org/officeDocument/2006/relationships/slideLayout" Target="../slideLayouts/slideLayout182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vmlDrawing" Target="../drawings/vmlDrawing58.vml"/><Relationship Id="rId2" Type="http://schemas.openxmlformats.org/officeDocument/2006/relationships/slideLayout" Target="../slideLayouts/slideLayout181.xml"/><Relationship Id="rId16" Type="http://schemas.openxmlformats.org/officeDocument/2006/relationships/theme" Target="../theme/theme16.xml"/><Relationship Id="rId20" Type="http://schemas.openxmlformats.org/officeDocument/2006/relationships/oleObject" Target="../embeddings/oleObject58.bin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2.vml"/><Relationship Id="rId3" Type="http://schemas.openxmlformats.org/officeDocument/2006/relationships/slideLayout" Target="../slideLayouts/slideLayout197.xml"/><Relationship Id="rId7" Type="http://schemas.openxmlformats.org/officeDocument/2006/relationships/theme" Target="../theme/theme1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99.xml"/><Relationship Id="rId10" Type="http://schemas.openxmlformats.org/officeDocument/2006/relationships/oleObject" Target="../embeddings/oleObject62.bin"/><Relationship Id="rId4" Type="http://schemas.openxmlformats.org/officeDocument/2006/relationships/slideLayout" Target="../slideLayouts/slideLayout198.xml"/><Relationship Id="rId9" Type="http://schemas.openxmlformats.org/officeDocument/2006/relationships/tags" Target="../tags/tag8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8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3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21.vml"/><Relationship Id="rId5" Type="http://schemas.openxmlformats.org/officeDocument/2006/relationships/theme" Target="../theme/theme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oleObject" Target="../embeddings/oleObject23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35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3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vmlDrawing" Target="../drawings/vmlDrawing23.vml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oleObject" Target="../embeddings/oleObject26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ags" Target="../tags/tag39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3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vmlDrawing" Target="../drawings/vmlDrawing26.v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tags" Target="../tags/tag41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ags" Target="../tags/tag40.xml"/><Relationship Id="rId2" Type="http://schemas.openxmlformats.org/officeDocument/2006/relationships/slideLayout" Target="../slideLayouts/slideLayout53.xml"/><Relationship Id="rId16" Type="http://schemas.openxmlformats.org/officeDocument/2006/relationships/vmlDrawing" Target="../drawings/vmlDrawing27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1.xml"/><Relationship Id="rId19" Type="http://schemas.openxmlformats.org/officeDocument/2006/relationships/oleObject" Target="../embeddings/oleObject27.bin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oleObject" Target="../embeddings/oleObject31.bin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tags" Target="../tags/tag46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4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vmlDrawing" Target="../drawings/vmlDrawing31.vml"/><Relationship Id="rId10" Type="http://schemas.openxmlformats.org/officeDocument/2006/relationships/slideLayout" Target="../slideLayouts/slideLayout75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tags" Target="../tags/tag50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ags" Target="../tags/tag49.xml"/><Relationship Id="rId2" Type="http://schemas.openxmlformats.org/officeDocument/2006/relationships/slideLayout" Target="../slideLayouts/slideLayout80.xml"/><Relationship Id="rId16" Type="http://schemas.openxmlformats.org/officeDocument/2006/relationships/vmlDrawing" Target="../drawings/vmlDrawing34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88.xml"/><Relationship Id="rId19" Type="http://schemas.openxmlformats.org/officeDocument/2006/relationships/oleObject" Target="../embeddings/oleObject34.bin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tags" Target="../tags/tag5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tags" Target="../tags/tag54.xml"/><Relationship Id="rId2" Type="http://schemas.openxmlformats.org/officeDocument/2006/relationships/slideLayout" Target="../slideLayouts/slideLayout94.xml"/><Relationship Id="rId16" Type="http://schemas.openxmlformats.org/officeDocument/2006/relationships/vmlDrawing" Target="../drawings/vmlDrawing38.v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02.xml"/><Relationship Id="rId19" Type="http://schemas.openxmlformats.org/officeDocument/2006/relationships/oleObject" Target="../embeddings/oleObject38.bin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36957163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100292" y="63045"/>
            <a:ext cx="9144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923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263E767-5A70-463A-AE09-C8BCD05107CC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031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75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 userDrawn="1">
          <p15:clr>
            <a:srgbClr val="F26B43"/>
          </p15:clr>
        </p15:guide>
        <p15:guide id="2" orient="horz" pos="948" userDrawn="1">
          <p15:clr>
            <a:srgbClr val="F26B43"/>
          </p15:clr>
        </p15:guide>
        <p15:guide id="3" pos="5472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100292" y="63045"/>
            <a:ext cx="9144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923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263E767-5A70-463A-AE09-C8BCD05107CC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791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64076019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285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7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9287736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704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3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01645004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9731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9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1897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84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7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6" indent="-3428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1" indent="-28574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86" indent="-228596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82" indent="-228596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76" indent="-2285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71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6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0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5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8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41FDC3-2C0C-47EE-9E32-2CA7D7EACBE5}" type="datetimeFigureOut">
              <a:rPr lang="sr-Latn-RS" smtClean="0"/>
              <a:t>28.10.2019.</a:t>
            </a:fld>
            <a:endParaRPr lang="sr-Latn-R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r-Latn-R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2DD345-62FD-4A4D-84D8-E3D9F279C68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987249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434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7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100292" y="63045"/>
            <a:ext cx="9144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923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263E767-5A70-463A-AE09-C8BCD05107CC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806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7173023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5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8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8860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5" r:id="rId15"/>
    <p:sldLayoutId id="2147483686" r:id="rId1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585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5pPr>
      <a:lvl6pPr marL="422041" algn="l" rtl="0" fontAlgn="base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6pPr>
      <a:lvl7pPr marL="844083" algn="l" rtl="0" fontAlgn="base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7pPr>
      <a:lvl8pPr marL="1266124" algn="l" rtl="0" fontAlgn="base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8pPr>
      <a:lvl9pPr marL="1688165" algn="l" rtl="0" fontAlgn="base">
        <a:spcBef>
          <a:spcPct val="0"/>
        </a:spcBef>
        <a:spcAft>
          <a:spcPct val="0"/>
        </a:spcAft>
        <a:defRPr sz="2585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84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585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7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292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108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82904525"/>
              </p:ext>
            </p:ext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100292" y="63045"/>
            <a:ext cx="9144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923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sz="923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7571433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2296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735" y="6381751"/>
            <a:ext cx="33264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8604739" y="6448426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263E767-5A70-463A-AE09-C8BCD05107CC}" type="slidenum">
              <a:rPr lang="en-US" altLang="en-US" sz="1108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altLang="en-US" sz="1108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05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6649728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5824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84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7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6" indent="-3428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1" indent="-28574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86" indent="-228596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82" indent="-228596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76" indent="-2285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71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6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0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5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3822415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9971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1590084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526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84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7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6" indent="-3428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1" indent="-28574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86" indent="-228596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82" indent="-228596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76" indent="-2285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71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6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0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5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1494010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536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84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7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6" indent="-3428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1" indent="-28574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86" indent="-228596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82" indent="-228596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76" indent="-2285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71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6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0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5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7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8367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84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7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6" indent="-3428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1" indent="-285747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86" indent="-228596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82" indent="-228596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76" indent="-228596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71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6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0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5" indent="-228596" algn="l" defTabSz="9143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0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4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9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3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8" algn="l" defTabSz="9143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912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198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39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59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789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898" indent="-3428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46" indent="-28574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93" indent="-228598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91" indent="-228598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88" indent="-22859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85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8" algn="l" defTabSz="91439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178.xml"/><Relationship Id="rId21" Type="http://schemas.openxmlformats.org/officeDocument/2006/relationships/tags" Target="../tags/tag173.xml"/><Relationship Id="rId42" Type="http://schemas.openxmlformats.org/officeDocument/2006/relationships/tags" Target="../tags/tag194.xml"/><Relationship Id="rId47" Type="http://schemas.openxmlformats.org/officeDocument/2006/relationships/tags" Target="../tags/tag199.xml"/><Relationship Id="rId63" Type="http://schemas.openxmlformats.org/officeDocument/2006/relationships/tags" Target="../tags/tag215.xml"/><Relationship Id="rId68" Type="http://schemas.openxmlformats.org/officeDocument/2006/relationships/tags" Target="../tags/tag220.xml"/><Relationship Id="rId2" Type="http://schemas.openxmlformats.org/officeDocument/2006/relationships/tags" Target="../tags/tag154.xml"/><Relationship Id="rId16" Type="http://schemas.openxmlformats.org/officeDocument/2006/relationships/tags" Target="../tags/tag168.xml"/><Relationship Id="rId29" Type="http://schemas.openxmlformats.org/officeDocument/2006/relationships/tags" Target="../tags/tag181.xml"/><Relationship Id="rId11" Type="http://schemas.openxmlformats.org/officeDocument/2006/relationships/tags" Target="../tags/tag163.xml"/><Relationship Id="rId24" Type="http://schemas.openxmlformats.org/officeDocument/2006/relationships/tags" Target="../tags/tag176.xml"/><Relationship Id="rId32" Type="http://schemas.openxmlformats.org/officeDocument/2006/relationships/tags" Target="../tags/tag184.xml"/><Relationship Id="rId37" Type="http://schemas.openxmlformats.org/officeDocument/2006/relationships/tags" Target="../tags/tag189.xml"/><Relationship Id="rId40" Type="http://schemas.openxmlformats.org/officeDocument/2006/relationships/tags" Target="../tags/tag192.xml"/><Relationship Id="rId45" Type="http://schemas.openxmlformats.org/officeDocument/2006/relationships/tags" Target="../tags/tag197.xml"/><Relationship Id="rId53" Type="http://schemas.openxmlformats.org/officeDocument/2006/relationships/tags" Target="../tags/tag205.xml"/><Relationship Id="rId58" Type="http://schemas.openxmlformats.org/officeDocument/2006/relationships/tags" Target="../tags/tag210.xml"/><Relationship Id="rId66" Type="http://schemas.openxmlformats.org/officeDocument/2006/relationships/tags" Target="../tags/tag218.xml"/><Relationship Id="rId74" Type="http://schemas.openxmlformats.org/officeDocument/2006/relationships/chart" Target="../charts/chart9.xml"/><Relationship Id="rId5" Type="http://schemas.openxmlformats.org/officeDocument/2006/relationships/tags" Target="../tags/tag157.xml"/><Relationship Id="rId61" Type="http://schemas.openxmlformats.org/officeDocument/2006/relationships/tags" Target="../tags/tag213.xml"/><Relationship Id="rId19" Type="http://schemas.openxmlformats.org/officeDocument/2006/relationships/tags" Target="../tags/tag171.xml"/><Relationship Id="rId14" Type="http://schemas.openxmlformats.org/officeDocument/2006/relationships/tags" Target="../tags/tag166.xml"/><Relationship Id="rId22" Type="http://schemas.openxmlformats.org/officeDocument/2006/relationships/tags" Target="../tags/tag174.xml"/><Relationship Id="rId27" Type="http://schemas.openxmlformats.org/officeDocument/2006/relationships/tags" Target="../tags/tag179.xml"/><Relationship Id="rId30" Type="http://schemas.openxmlformats.org/officeDocument/2006/relationships/tags" Target="../tags/tag182.xml"/><Relationship Id="rId35" Type="http://schemas.openxmlformats.org/officeDocument/2006/relationships/tags" Target="../tags/tag187.xml"/><Relationship Id="rId43" Type="http://schemas.openxmlformats.org/officeDocument/2006/relationships/tags" Target="../tags/tag195.xml"/><Relationship Id="rId48" Type="http://schemas.openxmlformats.org/officeDocument/2006/relationships/tags" Target="../tags/tag200.xml"/><Relationship Id="rId56" Type="http://schemas.openxmlformats.org/officeDocument/2006/relationships/tags" Target="../tags/tag208.xml"/><Relationship Id="rId64" Type="http://schemas.openxmlformats.org/officeDocument/2006/relationships/tags" Target="../tags/tag216.xml"/><Relationship Id="rId69" Type="http://schemas.openxmlformats.org/officeDocument/2006/relationships/tags" Target="../tags/tag221.xml"/><Relationship Id="rId8" Type="http://schemas.openxmlformats.org/officeDocument/2006/relationships/tags" Target="../tags/tag160.xml"/><Relationship Id="rId51" Type="http://schemas.openxmlformats.org/officeDocument/2006/relationships/tags" Target="../tags/tag203.xml"/><Relationship Id="rId72" Type="http://schemas.openxmlformats.org/officeDocument/2006/relationships/oleObject" Target="../embeddings/oleObject75.bin"/><Relationship Id="rId3" Type="http://schemas.openxmlformats.org/officeDocument/2006/relationships/tags" Target="../tags/tag155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5" Type="http://schemas.openxmlformats.org/officeDocument/2006/relationships/tags" Target="../tags/tag177.xml"/><Relationship Id="rId33" Type="http://schemas.openxmlformats.org/officeDocument/2006/relationships/tags" Target="../tags/tag185.xml"/><Relationship Id="rId38" Type="http://schemas.openxmlformats.org/officeDocument/2006/relationships/tags" Target="../tags/tag190.xml"/><Relationship Id="rId46" Type="http://schemas.openxmlformats.org/officeDocument/2006/relationships/tags" Target="../tags/tag198.xml"/><Relationship Id="rId59" Type="http://schemas.openxmlformats.org/officeDocument/2006/relationships/tags" Target="../tags/tag211.xml"/><Relationship Id="rId67" Type="http://schemas.openxmlformats.org/officeDocument/2006/relationships/tags" Target="../tags/tag219.xml"/><Relationship Id="rId20" Type="http://schemas.openxmlformats.org/officeDocument/2006/relationships/tags" Target="../tags/tag172.xml"/><Relationship Id="rId41" Type="http://schemas.openxmlformats.org/officeDocument/2006/relationships/tags" Target="../tags/tag193.xml"/><Relationship Id="rId54" Type="http://schemas.openxmlformats.org/officeDocument/2006/relationships/tags" Target="../tags/tag206.xml"/><Relationship Id="rId62" Type="http://schemas.openxmlformats.org/officeDocument/2006/relationships/tags" Target="../tags/tag214.xml"/><Relationship Id="rId70" Type="http://schemas.openxmlformats.org/officeDocument/2006/relationships/slideLayout" Target="../slideLayouts/slideLayout193.xml"/><Relationship Id="rId75" Type="http://schemas.openxmlformats.org/officeDocument/2006/relationships/chart" Target="../charts/chart10.xml"/><Relationship Id="rId1" Type="http://schemas.openxmlformats.org/officeDocument/2006/relationships/vmlDrawing" Target="../drawings/vmlDrawing75.vml"/><Relationship Id="rId6" Type="http://schemas.openxmlformats.org/officeDocument/2006/relationships/tags" Target="../tags/tag158.xml"/><Relationship Id="rId15" Type="http://schemas.openxmlformats.org/officeDocument/2006/relationships/tags" Target="../tags/tag167.xml"/><Relationship Id="rId23" Type="http://schemas.openxmlformats.org/officeDocument/2006/relationships/tags" Target="../tags/tag175.xml"/><Relationship Id="rId28" Type="http://schemas.openxmlformats.org/officeDocument/2006/relationships/tags" Target="../tags/tag180.xml"/><Relationship Id="rId36" Type="http://schemas.openxmlformats.org/officeDocument/2006/relationships/tags" Target="../tags/tag188.xml"/><Relationship Id="rId49" Type="http://schemas.openxmlformats.org/officeDocument/2006/relationships/tags" Target="../tags/tag201.xml"/><Relationship Id="rId57" Type="http://schemas.openxmlformats.org/officeDocument/2006/relationships/tags" Target="../tags/tag209.xml"/><Relationship Id="rId10" Type="http://schemas.openxmlformats.org/officeDocument/2006/relationships/tags" Target="../tags/tag162.xml"/><Relationship Id="rId31" Type="http://schemas.openxmlformats.org/officeDocument/2006/relationships/tags" Target="../tags/tag183.xml"/><Relationship Id="rId44" Type="http://schemas.openxmlformats.org/officeDocument/2006/relationships/tags" Target="../tags/tag196.xml"/><Relationship Id="rId52" Type="http://schemas.openxmlformats.org/officeDocument/2006/relationships/tags" Target="../tags/tag204.xml"/><Relationship Id="rId60" Type="http://schemas.openxmlformats.org/officeDocument/2006/relationships/tags" Target="../tags/tag212.xml"/><Relationship Id="rId65" Type="http://schemas.openxmlformats.org/officeDocument/2006/relationships/tags" Target="../tags/tag217.xml"/><Relationship Id="rId73" Type="http://schemas.openxmlformats.org/officeDocument/2006/relationships/image" Target="../media/image4.emf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39" Type="http://schemas.openxmlformats.org/officeDocument/2006/relationships/tags" Target="../tags/tag191.xml"/><Relationship Id="rId34" Type="http://schemas.openxmlformats.org/officeDocument/2006/relationships/tags" Target="../tags/tag186.xml"/><Relationship Id="rId50" Type="http://schemas.openxmlformats.org/officeDocument/2006/relationships/tags" Target="../tags/tag202.xml"/><Relationship Id="rId55" Type="http://schemas.openxmlformats.org/officeDocument/2006/relationships/tags" Target="../tags/tag207.xml"/><Relationship Id="rId7" Type="http://schemas.openxmlformats.org/officeDocument/2006/relationships/tags" Target="../tags/tag159.xml"/><Relationship Id="rId71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tags" Target="../tags/tag233.xml"/><Relationship Id="rId18" Type="http://schemas.openxmlformats.org/officeDocument/2006/relationships/oleObject" Target="../embeddings/oleObject76.bin"/><Relationship Id="rId3" Type="http://schemas.openxmlformats.org/officeDocument/2006/relationships/tags" Target="../tags/tag223.xml"/><Relationship Id="rId21" Type="http://schemas.openxmlformats.org/officeDocument/2006/relationships/chart" Target="../charts/chart12.xml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222.xml"/><Relationship Id="rId16" Type="http://schemas.openxmlformats.org/officeDocument/2006/relationships/slideLayout" Target="../slideLayouts/slideLayout179.xml"/><Relationship Id="rId20" Type="http://schemas.openxmlformats.org/officeDocument/2006/relationships/chart" Target="../charts/chart11.xml"/><Relationship Id="rId1" Type="http://schemas.openxmlformats.org/officeDocument/2006/relationships/vmlDrawing" Target="../drawings/vmlDrawing76.v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10" Type="http://schemas.openxmlformats.org/officeDocument/2006/relationships/tags" Target="../tags/tag230.xml"/><Relationship Id="rId19" Type="http://schemas.openxmlformats.org/officeDocument/2006/relationships/image" Target="../media/image4.emf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Relationship Id="rId22" Type="http://schemas.openxmlformats.org/officeDocument/2006/relationships/chart" Target="../charts/char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tags" Target="../tags/tag247.xml"/><Relationship Id="rId18" Type="http://schemas.openxmlformats.org/officeDocument/2006/relationships/slideLayout" Target="../slideLayouts/slideLayout179.xml"/><Relationship Id="rId3" Type="http://schemas.openxmlformats.org/officeDocument/2006/relationships/tags" Target="../tags/tag237.xml"/><Relationship Id="rId21" Type="http://schemas.openxmlformats.org/officeDocument/2006/relationships/image" Target="../media/image4.emf"/><Relationship Id="rId7" Type="http://schemas.openxmlformats.org/officeDocument/2006/relationships/tags" Target="../tags/tag241.xml"/><Relationship Id="rId12" Type="http://schemas.openxmlformats.org/officeDocument/2006/relationships/tags" Target="../tags/tag246.xml"/><Relationship Id="rId17" Type="http://schemas.openxmlformats.org/officeDocument/2006/relationships/tags" Target="../tags/tag251.xml"/><Relationship Id="rId2" Type="http://schemas.openxmlformats.org/officeDocument/2006/relationships/tags" Target="../tags/tag236.xml"/><Relationship Id="rId16" Type="http://schemas.openxmlformats.org/officeDocument/2006/relationships/tags" Target="../tags/tag250.xml"/><Relationship Id="rId20" Type="http://schemas.openxmlformats.org/officeDocument/2006/relationships/oleObject" Target="../embeddings/oleObject77.bin"/><Relationship Id="rId1" Type="http://schemas.openxmlformats.org/officeDocument/2006/relationships/vmlDrawing" Target="../drawings/vmlDrawing77.v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5" Type="http://schemas.openxmlformats.org/officeDocument/2006/relationships/tags" Target="../tags/tag239.xml"/><Relationship Id="rId15" Type="http://schemas.openxmlformats.org/officeDocument/2006/relationships/tags" Target="../tags/tag249.xml"/><Relationship Id="rId23" Type="http://schemas.openxmlformats.org/officeDocument/2006/relationships/chart" Target="../charts/chart15.xml"/><Relationship Id="rId10" Type="http://schemas.openxmlformats.org/officeDocument/2006/relationships/tags" Target="../tags/tag244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Relationship Id="rId22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367.xml"/><Relationship Id="rId21" Type="http://schemas.openxmlformats.org/officeDocument/2006/relationships/tags" Target="../tags/tag271.xml"/><Relationship Id="rId42" Type="http://schemas.openxmlformats.org/officeDocument/2006/relationships/tags" Target="../tags/tag292.xml"/><Relationship Id="rId63" Type="http://schemas.openxmlformats.org/officeDocument/2006/relationships/tags" Target="../tags/tag313.xml"/><Relationship Id="rId84" Type="http://schemas.openxmlformats.org/officeDocument/2006/relationships/tags" Target="../tags/tag334.xml"/><Relationship Id="rId138" Type="http://schemas.openxmlformats.org/officeDocument/2006/relationships/tags" Target="../tags/tag388.xml"/><Relationship Id="rId159" Type="http://schemas.openxmlformats.org/officeDocument/2006/relationships/chart" Target="../charts/chart17.xml"/><Relationship Id="rId107" Type="http://schemas.openxmlformats.org/officeDocument/2006/relationships/tags" Target="../tags/tag357.xml"/><Relationship Id="rId11" Type="http://schemas.openxmlformats.org/officeDocument/2006/relationships/tags" Target="../tags/tag261.xml"/><Relationship Id="rId32" Type="http://schemas.openxmlformats.org/officeDocument/2006/relationships/tags" Target="../tags/tag282.xml"/><Relationship Id="rId53" Type="http://schemas.openxmlformats.org/officeDocument/2006/relationships/tags" Target="../tags/tag303.xml"/><Relationship Id="rId74" Type="http://schemas.openxmlformats.org/officeDocument/2006/relationships/tags" Target="../tags/tag324.xml"/><Relationship Id="rId128" Type="http://schemas.openxmlformats.org/officeDocument/2006/relationships/tags" Target="../tags/tag378.xml"/><Relationship Id="rId149" Type="http://schemas.openxmlformats.org/officeDocument/2006/relationships/tags" Target="../tags/tag399.xml"/><Relationship Id="rId5" Type="http://schemas.openxmlformats.org/officeDocument/2006/relationships/tags" Target="../tags/tag255.xml"/><Relationship Id="rId95" Type="http://schemas.openxmlformats.org/officeDocument/2006/relationships/tags" Target="../tags/tag345.xml"/><Relationship Id="rId160" Type="http://schemas.openxmlformats.org/officeDocument/2006/relationships/chart" Target="../charts/chart18.xml"/><Relationship Id="rId22" Type="http://schemas.openxmlformats.org/officeDocument/2006/relationships/tags" Target="../tags/tag272.xml"/><Relationship Id="rId43" Type="http://schemas.openxmlformats.org/officeDocument/2006/relationships/tags" Target="../tags/tag293.xml"/><Relationship Id="rId64" Type="http://schemas.openxmlformats.org/officeDocument/2006/relationships/tags" Target="../tags/tag314.xml"/><Relationship Id="rId118" Type="http://schemas.openxmlformats.org/officeDocument/2006/relationships/tags" Target="../tags/tag368.xml"/><Relationship Id="rId139" Type="http://schemas.openxmlformats.org/officeDocument/2006/relationships/tags" Target="../tags/tag389.xml"/><Relationship Id="rId85" Type="http://schemas.openxmlformats.org/officeDocument/2006/relationships/tags" Target="../tags/tag335.xml"/><Relationship Id="rId150" Type="http://schemas.openxmlformats.org/officeDocument/2006/relationships/tags" Target="../tags/tag400.xml"/><Relationship Id="rId12" Type="http://schemas.openxmlformats.org/officeDocument/2006/relationships/tags" Target="../tags/tag262.xml"/><Relationship Id="rId17" Type="http://schemas.openxmlformats.org/officeDocument/2006/relationships/tags" Target="../tags/tag267.xml"/><Relationship Id="rId33" Type="http://schemas.openxmlformats.org/officeDocument/2006/relationships/tags" Target="../tags/tag283.xml"/><Relationship Id="rId38" Type="http://schemas.openxmlformats.org/officeDocument/2006/relationships/tags" Target="../tags/tag288.xml"/><Relationship Id="rId59" Type="http://schemas.openxmlformats.org/officeDocument/2006/relationships/tags" Target="../tags/tag309.xml"/><Relationship Id="rId103" Type="http://schemas.openxmlformats.org/officeDocument/2006/relationships/tags" Target="../tags/tag353.xml"/><Relationship Id="rId108" Type="http://schemas.openxmlformats.org/officeDocument/2006/relationships/tags" Target="../tags/tag358.xml"/><Relationship Id="rId124" Type="http://schemas.openxmlformats.org/officeDocument/2006/relationships/tags" Target="../tags/tag374.xml"/><Relationship Id="rId129" Type="http://schemas.openxmlformats.org/officeDocument/2006/relationships/tags" Target="../tags/tag379.xml"/><Relationship Id="rId54" Type="http://schemas.openxmlformats.org/officeDocument/2006/relationships/tags" Target="../tags/tag304.xml"/><Relationship Id="rId70" Type="http://schemas.openxmlformats.org/officeDocument/2006/relationships/tags" Target="../tags/tag320.xml"/><Relationship Id="rId75" Type="http://schemas.openxmlformats.org/officeDocument/2006/relationships/tags" Target="../tags/tag325.xml"/><Relationship Id="rId91" Type="http://schemas.openxmlformats.org/officeDocument/2006/relationships/tags" Target="../tags/tag341.xml"/><Relationship Id="rId96" Type="http://schemas.openxmlformats.org/officeDocument/2006/relationships/tags" Target="../tags/tag346.xml"/><Relationship Id="rId140" Type="http://schemas.openxmlformats.org/officeDocument/2006/relationships/tags" Target="../tags/tag390.xml"/><Relationship Id="rId145" Type="http://schemas.openxmlformats.org/officeDocument/2006/relationships/tags" Target="../tags/tag395.xml"/><Relationship Id="rId161" Type="http://schemas.openxmlformats.org/officeDocument/2006/relationships/image" Target="../media/image7.png"/><Relationship Id="rId1" Type="http://schemas.openxmlformats.org/officeDocument/2006/relationships/vmlDrawing" Target="../drawings/vmlDrawing78.vml"/><Relationship Id="rId6" Type="http://schemas.openxmlformats.org/officeDocument/2006/relationships/tags" Target="../tags/tag256.xml"/><Relationship Id="rId23" Type="http://schemas.openxmlformats.org/officeDocument/2006/relationships/tags" Target="../tags/tag273.xml"/><Relationship Id="rId28" Type="http://schemas.openxmlformats.org/officeDocument/2006/relationships/tags" Target="../tags/tag278.xml"/><Relationship Id="rId49" Type="http://schemas.openxmlformats.org/officeDocument/2006/relationships/tags" Target="../tags/tag299.xml"/><Relationship Id="rId114" Type="http://schemas.openxmlformats.org/officeDocument/2006/relationships/tags" Target="../tags/tag364.xml"/><Relationship Id="rId119" Type="http://schemas.openxmlformats.org/officeDocument/2006/relationships/tags" Target="../tags/tag369.xml"/><Relationship Id="rId44" Type="http://schemas.openxmlformats.org/officeDocument/2006/relationships/tags" Target="../tags/tag294.xml"/><Relationship Id="rId60" Type="http://schemas.openxmlformats.org/officeDocument/2006/relationships/tags" Target="../tags/tag310.xml"/><Relationship Id="rId65" Type="http://schemas.openxmlformats.org/officeDocument/2006/relationships/tags" Target="../tags/tag315.xml"/><Relationship Id="rId81" Type="http://schemas.openxmlformats.org/officeDocument/2006/relationships/tags" Target="../tags/tag331.xml"/><Relationship Id="rId86" Type="http://schemas.openxmlformats.org/officeDocument/2006/relationships/tags" Target="../tags/tag336.xml"/><Relationship Id="rId130" Type="http://schemas.openxmlformats.org/officeDocument/2006/relationships/tags" Target="../tags/tag380.xml"/><Relationship Id="rId135" Type="http://schemas.openxmlformats.org/officeDocument/2006/relationships/tags" Target="../tags/tag385.xml"/><Relationship Id="rId151" Type="http://schemas.openxmlformats.org/officeDocument/2006/relationships/tags" Target="../tags/tag401.xml"/><Relationship Id="rId156" Type="http://schemas.openxmlformats.org/officeDocument/2006/relationships/oleObject" Target="../embeddings/oleObject78.bin"/><Relationship Id="rId13" Type="http://schemas.openxmlformats.org/officeDocument/2006/relationships/tags" Target="../tags/tag263.xml"/><Relationship Id="rId18" Type="http://schemas.openxmlformats.org/officeDocument/2006/relationships/tags" Target="../tags/tag268.xml"/><Relationship Id="rId39" Type="http://schemas.openxmlformats.org/officeDocument/2006/relationships/tags" Target="../tags/tag289.xml"/><Relationship Id="rId109" Type="http://schemas.openxmlformats.org/officeDocument/2006/relationships/tags" Target="../tags/tag359.xml"/><Relationship Id="rId34" Type="http://schemas.openxmlformats.org/officeDocument/2006/relationships/tags" Target="../tags/tag284.xml"/><Relationship Id="rId50" Type="http://schemas.openxmlformats.org/officeDocument/2006/relationships/tags" Target="../tags/tag300.xml"/><Relationship Id="rId55" Type="http://schemas.openxmlformats.org/officeDocument/2006/relationships/tags" Target="../tags/tag305.xml"/><Relationship Id="rId76" Type="http://schemas.openxmlformats.org/officeDocument/2006/relationships/tags" Target="../tags/tag326.xml"/><Relationship Id="rId97" Type="http://schemas.openxmlformats.org/officeDocument/2006/relationships/tags" Target="../tags/tag347.xml"/><Relationship Id="rId104" Type="http://schemas.openxmlformats.org/officeDocument/2006/relationships/tags" Target="../tags/tag354.xml"/><Relationship Id="rId120" Type="http://schemas.openxmlformats.org/officeDocument/2006/relationships/tags" Target="../tags/tag370.xml"/><Relationship Id="rId125" Type="http://schemas.openxmlformats.org/officeDocument/2006/relationships/tags" Target="../tags/tag375.xml"/><Relationship Id="rId141" Type="http://schemas.openxmlformats.org/officeDocument/2006/relationships/tags" Target="../tags/tag391.xml"/><Relationship Id="rId146" Type="http://schemas.openxmlformats.org/officeDocument/2006/relationships/tags" Target="../tags/tag396.xml"/><Relationship Id="rId7" Type="http://schemas.openxmlformats.org/officeDocument/2006/relationships/tags" Target="../tags/tag257.xml"/><Relationship Id="rId71" Type="http://schemas.openxmlformats.org/officeDocument/2006/relationships/tags" Target="../tags/tag321.xml"/><Relationship Id="rId92" Type="http://schemas.openxmlformats.org/officeDocument/2006/relationships/tags" Target="../tags/tag342.xml"/><Relationship Id="rId2" Type="http://schemas.openxmlformats.org/officeDocument/2006/relationships/tags" Target="../tags/tag252.xml"/><Relationship Id="rId29" Type="http://schemas.openxmlformats.org/officeDocument/2006/relationships/tags" Target="../tags/tag279.xml"/><Relationship Id="rId24" Type="http://schemas.openxmlformats.org/officeDocument/2006/relationships/tags" Target="../tags/tag274.xml"/><Relationship Id="rId40" Type="http://schemas.openxmlformats.org/officeDocument/2006/relationships/tags" Target="../tags/tag290.xml"/><Relationship Id="rId45" Type="http://schemas.openxmlformats.org/officeDocument/2006/relationships/tags" Target="../tags/tag295.xml"/><Relationship Id="rId66" Type="http://schemas.openxmlformats.org/officeDocument/2006/relationships/tags" Target="../tags/tag316.xml"/><Relationship Id="rId87" Type="http://schemas.openxmlformats.org/officeDocument/2006/relationships/tags" Target="../tags/tag337.xml"/><Relationship Id="rId110" Type="http://schemas.openxmlformats.org/officeDocument/2006/relationships/tags" Target="../tags/tag360.xml"/><Relationship Id="rId115" Type="http://schemas.openxmlformats.org/officeDocument/2006/relationships/tags" Target="../tags/tag365.xml"/><Relationship Id="rId131" Type="http://schemas.openxmlformats.org/officeDocument/2006/relationships/tags" Target="../tags/tag381.xml"/><Relationship Id="rId136" Type="http://schemas.openxmlformats.org/officeDocument/2006/relationships/tags" Target="../tags/tag386.xml"/><Relationship Id="rId157" Type="http://schemas.openxmlformats.org/officeDocument/2006/relationships/image" Target="../media/image6.emf"/><Relationship Id="rId61" Type="http://schemas.openxmlformats.org/officeDocument/2006/relationships/tags" Target="../tags/tag311.xml"/><Relationship Id="rId82" Type="http://schemas.openxmlformats.org/officeDocument/2006/relationships/tags" Target="../tags/tag332.xml"/><Relationship Id="rId152" Type="http://schemas.openxmlformats.org/officeDocument/2006/relationships/tags" Target="../tags/tag402.xml"/><Relationship Id="rId19" Type="http://schemas.openxmlformats.org/officeDocument/2006/relationships/tags" Target="../tags/tag269.xml"/><Relationship Id="rId14" Type="http://schemas.openxmlformats.org/officeDocument/2006/relationships/tags" Target="../tags/tag264.xml"/><Relationship Id="rId30" Type="http://schemas.openxmlformats.org/officeDocument/2006/relationships/tags" Target="../tags/tag280.xml"/><Relationship Id="rId35" Type="http://schemas.openxmlformats.org/officeDocument/2006/relationships/tags" Target="../tags/tag285.xml"/><Relationship Id="rId56" Type="http://schemas.openxmlformats.org/officeDocument/2006/relationships/tags" Target="../tags/tag306.xml"/><Relationship Id="rId77" Type="http://schemas.openxmlformats.org/officeDocument/2006/relationships/tags" Target="../tags/tag327.xml"/><Relationship Id="rId100" Type="http://schemas.openxmlformats.org/officeDocument/2006/relationships/tags" Target="../tags/tag350.xml"/><Relationship Id="rId105" Type="http://schemas.openxmlformats.org/officeDocument/2006/relationships/tags" Target="../tags/tag355.xml"/><Relationship Id="rId126" Type="http://schemas.openxmlformats.org/officeDocument/2006/relationships/tags" Target="../tags/tag376.xml"/><Relationship Id="rId147" Type="http://schemas.openxmlformats.org/officeDocument/2006/relationships/tags" Target="../tags/tag397.xml"/><Relationship Id="rId8" Type="http://schemas.openxmlformats.org/officeDocument/2006/relationships/tags" Target="../tags/tag258.xml"/><Relationship Id="rId51" Type="http://schemas.openxmlformats.org/officeDocument/2006/relationships/tags" Target="../tags/tag301.xml"/><Relationship Id="rId72" Type="http://schemas.openxmlformats.org/officeDocument/2006/relationships/tags" Target="../tags/tag322.xml"/><Relationship Id="rId93" Type="http://schemas.openxmlformats.org/officeDocument/2006/relationships/tags" Target="../tags/tag343.xml"/><Relationship Id="rId98" Type="http://schemas.openxmlformats.org/officeDocument/2006/relationships/tags" Target="../tags/tag348.xml"/><Relationship Id="rId121" Type="http://schemas.openxmlformats.org/officeDocument/2006/relationships/tags" Target="../tags/tag371.xml"/><Relationship Id="rId142" Type="http://schemas.openxmlformats.org/officeDocument/2006/relationships/tags" Target="../tags/tag392.xml"/><Relationship Id="rId3" Type="http://schemas.openxmlformats.org/officeDocument/2006/relationships/tags" Target="../tags/tag253.xml"/><Relationship Id="rId25" Type="http://schemas.openxmlformats.org/officeDocument/2006/relationships/tags" Target="../tags/tag275.xml"/><Relationship Id="rId46" Type="http://schemas.openxmlformats.org/officeDocument/2006/relationships/tags" Target="../tags/tag296.xml"/><Relationship Id="rId67" Type="http://schemas.openxmlformats.org/officeDocument/2006/relationships/tags" Target="../tags/tag317.xml"/><Relationship Id="rId116" Type="http://schemas.openxmlformats.org/officeDocument/2006/relationships/tags" Target="../tags/tag366.xml"/><Relationship Id="rId137" Type="http://schemas.openxmlformats.org/officeDocument/2006/relationships/tags" Target="../tags/tag387.xml"/><Relationship Id="rId158" Type="http://schemas.openxmlformats.org/officeDocument/2006/relationships/chart" Target="../charts/chart16.xml"/><Relationship Id="rId20" Type="http://schemas.openxmlformats.org/officeDocument/2006/relationships/tags" Target="../tags/tag270.xml"/><Relationship Id="rId41" Type="http://schemas.openxmlformats.org/officeDocument/2006/relationships/tags" Target="../tags/tag291.xml"/><Relationship Id="rId62" Type="http://schemas.openxmlformats.org/officeDocument/2006/relationships/tags" Target="../tags/tag312.xml"/><Relationship Id="rId83" Type="http://schemas.openxmlformats.org/officeDocument/2006/relationships/tags" Target="../tags/tag333.xml"/><Relationship Id="rId88" Type="http://schemas.openxmlformats.org/officeDocument/2006/relationships/tags" Target="../tags/tag338.xml"/><Relationship Id="rId111" Type="http://schemas.openxmlformats.org/officeDocument/2006/relationships/tags" Target="../tags/tag361.xml"/><Relationship Id="rId132" Type="http://schemas.openxmlformats.org/officeDocument/2006/relationships/tags" Target="../tags/tag382.xml"/><Relationship Id="rId153" Type="http://schemas.openxmlformats.org/officeDocument/2006/relationships/tags" Target="../tags/tag403.xml"/><Relationship Id="rId15" Type="http://schemas.openxmlformats.org/officeDocument/2006/relationships/tags" Target="../tags/tag265.xml"/><Relationship Id="rId36" Type="http://schemas.openxmlformats.org/officeDocument/2006/relationships/tags" Target="../tags/tag286.xml"/><Relationship Id="rId57" Type="http://schemas.openxmlformats.org/officeDocument/2006/relationships/tags" Target="../tags/tag307.xml"/><Relationship Id="rId106" Type="http://schemas.openxmlformats.org/officeDocument/2006/relationships/tags" Target="../tags/tag356.xml"/><Relationship Id="rId127" Type="http://schemas.openxmlformats.org/officeDocument/2006/relationships/tags" Target="../tags/tag377.xml"/><Relationship Id="rId10" Type="http://schemas.openxmlformats.org/officeDocument/2006/relationships/tags" Target="../tags/tag260.xml"/><Relationship Id="rId31" Type="http://schemas.openxmlformats.org/officeDocument/2006/relationships/tags" Target="../tags/tag281.xml"/><Relationship Id="rId52" Type="http://schemas.openxmlformats.org/officeDocument/2006/relationships/tags" Target="../tags/tag302.xml"/><Relationship Id="rId73" Type="http://schemas.openxmlformats.org/officeDocument/2006/relationships/tags" Target="../tags/tag323.xml"/><Relationship Id="rId78" Type="http://schemas.openxmlformats.org/officeDocument/2006/relationships/tags" Target="../tags/tag328.xml"/><Relationship Id="rId94" Type="http://schemas.openxmlformats.org/officeDocument/2006/relationships/tags" Target="../tags/tag344.xml"/><Relationship Id="rId99" Type="http://schemas.openxmlformats.org/officeDocument/2006/relationships/tags" Target="../tags/tag349.xml"/><Relationship Id="rId101" Type="http://schemas.openxmlformats.org/officeDocument/2006/relationships/tags" Target="../tags/tag351.xml"/><Relationship Id="rId122" Type="http://schemas.openxmlformats.org/officeDocument/2006/relationships/tags" Target="../tags/tag372.xml"/><Relationship Id="rId143" Type="http://schemas.openxmlformats.org/officeDocument/2006/relationships/tags" Target="../tags/tag393.xml"/><Relationship Id="rId148" Type="http://schemas.openxmlformats.org/officeDocument/2006/relationships/tags" Target="../tags/tag398.xml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26" Type="http://schemas.openxmlformats.org/officeDocument/2006/relationships/tags" Target="../tags/tag276.xml"/><Relationship Id="rId47" Type="http://schemas.openxmlformats.org/officeDocument/2006/relationships/tags" Target="../tags/tag297.xml"/><Relationship Id="rId68" Type="http://schemas.openxmlformats.org/officeDocument/2006/relationships/tags" Target="../tags/tag318.xml"/><Relationship Id="rId89" Type="http://schemas.openxmlformats.org/officeDocument/2006/relationships/tags" Target="../tags/tag339.xml"/><Relationship Id="rId112" Type="http://schemas.openxmlformats.org/officeDocument/2006/relationships/tags" Target="../tags/tag362.xml"/><Relationship Id="rId133" Type="http://schemas.openxmlformats.org/officeDocument/2006/relationships/tags" Target="../tags/tag383.xml"/><Relationship Id="rId154" Type="http://schemas.openxmlformats.org/officeDocument/2006/relationships/tags" Target="../tags/tag404.xml"/><Relationship Id="rId16" Type="http://schemas.openxmlformats.org/officeDocument/2006/relationships/tags" Target="../tags/tag266.xml"/><Relationship Id="rId37" Type="http://schemas.openxmlformats.org/officeDocument/2006/relationships/tags" Target="../tags/tag287.xml"/><Relationship Id="rId58" Type="http://schemas.openxmlformats.org/officeDocument/2006/relationships/tags" Target="../tags/tag308.xml"/><Relationship Id="rId79" Type="http://schemas.openxmlformats.org/officeDocument/2006/relationships/tags" Target="../tags/tag329.xml"/><Relationship Id="rId102" Type="http://schemas.openxmlformats.org/officeDocument/2006/relationships/tags" Target="../tags/tag352.xml"/><Relationship Id="rId123" Type="http://schemas.openxmlformats.org/officeDocument/2006/relationships/tags" Target="../tags/tag373.xml"/><Relationship Id="rId144" Type="http://schemas.openxmlformats.org/officeDocument/2006/relationships/tags" Target="../tags/tag394.xml"/><Relationship Id="rId90" Type="http://schemas.openxmlformats.org/officeDocument/2006/relationships/tags" Target="../tags/tag340.xml"/><Relationship Id="rId27" Type="http://schemas.openxmlformats.org/officeDocument/2006/relationships/tags" Target="../tags/tag277.xml"/><Relationship Id="rId48" Type="http://schemas.openxmlformats.org/officeDocument/2006/relationships/tags" Target="../tags/tag298.xml"/><Relationship Id="rId69" Type="http://schemas.openxmlformats.org/officeDocument/2006/relationships/tags" Target="../tags/tag319.xml"/><Relationship Id="rId113" Type="http://schemas.openxmlformats.org/officeDocument/2006/relationships/tags" Target="../tags/tag363.xml"/><Relationship Id="rId134" Type="http://schemas.openxmlformats.org/officeDocument/2006/relationships/tags" Target="../tags/tag384.xml"/><Relationship Id="rId80" Type="http://schemas.openxmlformats.org/officeDocument/2006/relationships/tags" Target="../tags/tag330.xml"/><Relationship Id="rId155" Type="http://schemas.openxmlformats.org/officeDocument/2006/relationships/slideLayout" Target="../slideLayouts/slideLayout2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7" Type="http://schemas.openxmlformats.org/officeDocument/2006/relationships/image" Target="../media/image6.emf"/><Relationship Id="rId2" Type="http://schemas.openxmlformats.org/officeDocument/2006/relationships/tags" Target="../tags/tag405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4.emf"/><Relationship Id="rId2" Type="http://schemas.openxmlformats.org/officeDocument/2006/relationships/tags" Target="../tags/tag91.xml"/><Relationship Id="rId1" Type="http://schemas.openxmlformats.org/officeDocument/2006/relationships/vmlDrawing" Target="../drawings/vmlDrawing67.vml"/><Relationship Id="rId6" Type="http://schemas.openxmlformats.org/officeDocument/2006/relationships/tags" Target="../tags/tag95.xml"/><Relationship Id="rId11" Type="http://schemas.openxmlformats.org/officeDocument/2006/relationships/oleObject" Target="../embeddings/oleObject67.bin"/><Relationship Id="rId5" Type="http://schemas.openxmlformats.org/officeDocument/2006/relationships/tags" Target="../tags/tag94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93.xml"/><Relationship Id="rId9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4.emf"/><Relationship Id="rId2" Type="http://schemas.openxmlformats.org/officeDocument/2006/relationships/tags" Target="../tags/tag98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21" Type="http://schemas.openxmlformats.org/officeDocument/2006/relationships/tags" Target="../tags/tag121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oleObject" Target="../embeddings/oleObject70.bin"/><Relationship Id="rId50" Type="http://schemas.openxmlformats.org/officeDocument/2006/relationships/chart" Target="../charts/chart2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9" Type="http://schemas.openxmlformats.org/officeDocument/2006/relationships/tags" Target="../tags/tag129.xml"/><Relationship Id="rId11" Type="http://schemas.openxmlformats.org/officeDocument/2006/relationships/tags" Target="../tags/tag111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49" Type="http://schemas.openxmlformats.org/officeDocument/2006/relationships/chart" Target="../charts/chart1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image" Target="../media/image4.emf"/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slideLayout" Target="../slideLayouts/slideLayout106.xml"/><Relationship Id="rId20" Type="http://schemas.openxmlformats.org/officeDocument/2006/relationships/tags" Target="../tags/tag120.xml"/><Relationship Id="rId41" Type="http://schemas.openxmlformats.org/officeDocument/2006/relationships/tags" Target="../tags/tag141.xml"/><Relationship Id="rId1" Type="http://schemas.openxmlformats.org/officeDocument/2006/relationships/vmlDrawing" Target="../drawings/vmlDrawing70.vml"/><Relationship Id="rId6" Type="http://schemas.openxmlformats.org/officeDocument/2006/relationships/tags" Target="../tags/tag10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5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149.xml"/><Relationship Id="rId7" Type="http://schemas.openxmlformats.org/officeDocument/2006/relationships/image" Target="../media/image4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79.xml"/><Relationship Id="rId9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51.xml"/><Relationship Id="rId7" Type="http://schemas.openxmlformats.org/officeDocument/2006/relationships/image" Target="../media/image4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79.xml"/><Relationship Id="rId9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tags" Target="../tags/tag153.xml"/><Relationship Id="rId7" Type="http://schemas.openxmlformats.org/officeDocument/2006/relationships/image" Target="../media/image4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79.xml"/><Relationship Id="rId9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832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3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r-Cyrl-RS" sz="2769" b="1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772" y="3696722"/>
            <a:ext cx="8315993" cy="996686"/>
          </a:xfrm>
        </p:spPr>
        <p:txBody>
          <a:bodyPr/>
          <a:lstStyle/>
          <a:p>
            <a:pPr algn="r"/>
            <a:r>
              <a:rPr lang="sr-Cyrl-RS" dirty="0" smtClean="0"/>
              <a:t>Инвестиције и заштита животне средине</a:t>
            </a:r>
            <a:br>
              <a:rPr lang="sr-Cyrl-RS" dirty="0" smtClean="0"/>
            </a:br>
            <a:r>
              <a:rPr lang="sr-Cyrl-RS" dirty="0" smtClean="0"/>
              <a:t>-приоритети ЕПС-а-</a:t>
            </a:r>
            <a:br>
              <a:rPr lang="sr-Cyrl-RS" dirty="0" smtClean="0"/>
            </a:br>
            <a:endParaRPr lang="sr-Latn-R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96929" y="5751285"/>
            <a:ext cx="5353309" cy="264240"/>
          </a:xfrm>
        </p:spPr>
        <p:txBody>
          <a:bodyPr/>
          <a:lstStyle/>
          <a:p>
            <a:pPr algn="r"/>
            <a:r>
              <a:rPr lang="sr-Cyrl-RS" sz="1477" dirty="0" smtClean="0"/>
              <a:t>28.10.2019.</a:t>
            </a:r>
            <a:endParaRPr lang="sr-Latn-RS" sz="1477" dirty="0"/>
          </a:p>
        </p:txBody>
      </p:sp>
    </p:spTree>
    <p:extLst>
      <p:ext uri="{BB962C8B-B14F-4D97-AF65-F5344CB8AC3E}">
        <p14:creationId xmlns:p14="http://schemas.microsoft.com/office/powerpoint/2010/main" val="2301637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123936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2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sr-Latn-RS" sz="8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8" name="Chart 9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07516"/>
              </p:ext>
            </p:extLst>
          </p:nvPr>
        </p:nvGraphicFramePr>
        <p:xfrm>
          <a:off x="479425" y="1436162"/>
          <a:ext cx="8871780" cy="3877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0" y="93169"/>
            <a:ext cx="8271803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прашкастих материја (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PM10)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у сектору производње електричне енергије и даљинског грејања</a:t>
            </a: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Latn-R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cxnSp>
        <p:nvCxnSpPr>
          <p:cNvPr id="557" name="Straight Connector 556"/>
          <p:cNvCxnSpPr/>
          <p:nvPr>
            <p:custDataLst>
              <p:tags r:id="rId4"/>
            </p:custDataLst>
          </p:nvPr>
        </p:nvCxnSpPr>
        <p:spPr bwMode="auto">
          <a:xfrm>
            <a:off x="892175" y="42624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5"/>
            </p:custDataLst>
          </p:nvPr>
        </p:nvCxnSpPr>
        <p:spPr bwMode="auto">
          <a:xfrm>
            <a:off x="892175" y="2659063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6"/>
            </p:custDataLst>
          </p:nvPr>
        </p:nvCxnSpPr>
        <p:spPr bwMode="auto">
          <a:xfrm>
            <a:off x="892175" y="37274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Straight Connector 558"/>
          <p:cNvCxnSpPr/>
          <p:nvPr>
            <p:custDataLst>
              <p:tags r:id="rId7"/>
            </p:custDataLst>
          </p:nvPr>
        </p:nvCxnSpPr>
        <p:spPr bwMode="auto">
          <a:xfrm>
            <a:off x="892175" y="39052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8"/>
            </p:custDataLst>
          </p:nvPr>
        </p:nvCxnSpPr>
        <p:spPr bwMode="auto">
          <a:xfrm>
            <a:off x="892175" y="2481263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9"/>
            </p:custDataLst>
          </p:nvPr>
        </p:nvCxnSpPr>
        <p:spPr bwMode="auto">
          <a:xfrm>
            <a:off x="892175" y="47958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/>
          <p:cNvCxnSpPr/>
          <p:nvPr>
            <p:custDataLst>
              <p:tags r:id="rId10"/>
            </p:custDataLst>
          </p:nvPr>
        </p:nvCxnSpPr>
        <p:spPr bwMode="auto">
          <a:xfrm>
            <a:off x="892175" y="46180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/>
          <p:cNvCxnSpPr/>
          <p:nvPr>
            <p:custDataLst>
              <p:tags r:id="rId11"/>
            </p:custDataLst>
          </p:nvPr>
        </p:nvCxnSpPr>
        <p:spPr bwMode="auto">
          <a:xfrm>
            <a:off x="892175" y="30162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Connector 514"/>
          <p:cNvCxnSpPr/>
          <p:nvPr>
            <p:custDataLst>
              <p:tags r:id="rId12"/>
            </p:custDataLst>
          </p:nvPr>
        </p:nvCxnSpPr>
        <p:spPr bwMode="auto">
          <a:xfrm>
            <a:off x="892175" y="2836863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13"/>
            </p:custDataLst>
          </p:nvPr>
        </p:nvCxnSpPr>
        <p:spPr bwMode="auto">
          <a:xfrm>
            <a:off x="892175" y="31940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4"/>
            </p:custDataLst>
          </p:nvPr>
        </p:nvCxnSpPr>
        <p:spPr bwMode="auto">
          <a:xfrm>
            <a:off x="892175" y="2303463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15"/>
            </p:custDataLst>
          </p:nvPr>
        </p:nvCxnSpPr>
        <p:spPr bwMode="auto">
          <a:xfrm>
            <a:off x="892175" y="40846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6"/>
            </p:custDataLst>
          </p:nvPr>
        </p:nvCxnSpPr>
        <p:spPr bwMode="auto">
          <a:xfrm>
            <a:off x="892175" y="33718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17"/>
            </p:custDataLst>
          </p:nvPr>
        </p:nvCxnSpPr>
        <p:spPr bwMode="auto">
          <a:xfrm>
            <a:off x="892175" y="44402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/>
          <p:cNvCxnSpPr/>
          <p:nvPr>
            <p:custDataLst>
              <p:tags r:id="rId18"/>
            </p:custDataLst>
          </p:nvPr>
        </p:nvCxnSpPr>
        <p:spPr bwMode="auto">
          <a:xfrm>
            <a:off x="892175" y="4975225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/>
          <p:nvPr>
            <p:custDataLst>
              <p:tags r:id="rId19"/>
            </p:custDataLst>
          </p:nvPr>
        </p:nvCxnSpPr>
        <p:spPr bwMode="auto">
          <a:xfrm>
            <a:off x="892175" y="1633538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1" name="Straight Connector 560"/>
          <p:cNvCxnSpPr/>
          <p:nvPr>
            <p:custDataLst>
              <p:tags r:id="rId20"/>
            </p:custDataLst>
          </p:nvPr>
        </p:nvCxnSpPr>
        <p:spPr bwMode="auto">
          <a:xfrm>
            <a:off x="892175" y="2125663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1"/>
            </p:custDataLst>
          </p:nvPr>
        </p:nvCxnSpPr>
        <p:spPr bwMode="auto">
          <a:xfrm>
            <a:off x="892175" y="3549650"/>
            <a:ext cx="7964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4" name="Straight Connector 553"/>
          <p:cNvCxnSpPr/>
          <p:nvPr>
            <p:custDataLst>
              <p:tags r:id="rId22"/>
            </p:custDataLst>
          </p:nvPr>
        </p:nvCxnSpPr>
        <p:spPr bwMode="auto">
          <a:xfrm>
            <a:off x="852487" y="46180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3"/>
            </p:custDataLst>
          </p:nvPr>
        </p:nvCxnSpPr>
        <p:spPr bwMode="auto">
          <a:xfrm>
            <a:off x="852488" y="33718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24"/>
            </p:custDataLst>
          </p:nvPr>
        </p:nvCxnSpPr>
        <p:spPr bwMode="auto">
          <a:xfrm>
            <a:off x="852488" y="31940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Straight Connector 559"/>
          <p:cNvCxnSpPr/>
          <p:nvPr>
            <p:custDataLst>
              <p:tags r:id="rId25"/>
            </p:custDataLst>
          </p:nvPr>
        </p:nvCxnSpPr>
        <p:spPr bwMode="auto">
          <a:xfrm>
            <a:off x="852487" y="2125663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Connector 513"/>
          <p:cNvCxnSpPr/>
          <p:nvPr>
            <p:custDataLst>
              <p:tags r:id="rId26"/>
            </p:custDataLst>
          </p:nvPr>
        </p:nvCxnSpPr>
        <p:spPr bwMode="auto">
          <a:xfrm>
            <a:off x="852488" y="2836863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2" name="Straight Connector 521"/>
          <p:cNvCxnSpPr/>
          <p:nvPr>
            <p:custDataLst>
              <p:tags r:id="rId27"/>
            </p:custDataLst>
          </p:nvPr>
        </p:nvCxnSpPr>
        <p:spPr bwMode="auto">
          <a:xfrm>
            <a:off x="852487" y="5153025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" name="Straight Connector 511"/>
          <p:cNvCxnSpPr/>
          <p:nvPr>
            <p:custDataLst>
              <p:tags r:id="rId28"/>
            </p:custDataLst>
          </p:nvPr>
        </p:nvCxnSpPr>
        <p:spPr bwMode="auto">
          <a:xfrm>
            <a:off x="852488" y="30162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Connector 551"/>
          <p:cNvCxnSpPr/>
          <p:nvPr>
            <p:custDataLst>
              <p:tags r:id="rId29"/>
            </p:custDataLst>
          </p:nvPr>
        </p:nvCxnSpPr>
        <p:spPr bwMode="auto">
          <a:xfrm>
            <a:off x="852487" y="4975225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" name="Straight Connector 524"/>
          <p:cNvCxnSpPr/>
          <p:nvPr>
            <p:custDataLst>
              <p:tags r:id="rId30"/>
            </p:custDataLst>
          </p:nvPr>
        </p:nvCxnSpPr>
        <p:spPr bwMode="auto">
          <a:xfrm>
            <a:off x="852487" y="40846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31"/>
            </p:custDataLst>
          </p:nvPr>
        </p:nvCxnSpPr>
        <p:spPr bwMode="auto">
          <a:xfrm>
            <a:off x="852488" y="2659063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32"/>
            </p:custDataLst>
          </p:nvPr>
        </p:nvCxnSpPr>
        <p:spPr bwMode="auto">
          <a:xfrm>
            <a:off x="852488" y="2481263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3" name="Straight Connector 522"/>
          <p:cNvCxnSpPr/>
          <p:nvPr>
            <p:custDataLst>
              <p:tags r:id="rId33"/>
            </p:custDataLst>
          </p:nvPr>
        </p:nvCxnSpPr>
        <p:spPr bwMode="auto">
          <a:xfrm>
            <a:off x="852487" y="47958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4" name="Straight Connector 523"/>
          <p:cNvCxnSpPr/>
          <p:nvPr>
            <p:custDataLst>
              <p:tags r:id="rId34"/>
            </p:custDataLst>
          </p:nvPr>
        </p:nvCxnSpPr>
        <p:spPr bwMode="auto">
          <a:xfrm>
            <a:off x="852487" y="44402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Straight Connector 555"/>
          <p:cNvCxnSpPr/>
          <p:nvPr>
            <p:custDataLst>
              <p:tags r:id="rId35"/>
            </p:custDataLst>
          </p:nvPr>
        </p:nvCxnSpPr>
        <p:spPr bwMode="auto">
          <a:xfrm>
            <a:off x="852487" y="42624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/>
          <p:nvPr>
            <p:custDataLst>
              <p:tags r:id="rId36"/>
            </p:custDataLst>
          </p:nvPr>
        </p:nvCxnSpPr>
        <p:spPr bwMode="auto">
          <a:xfrm>
            <a:off x="852487" y="1633538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37"/>
            </p:custDataLst>
          </p:nvPr>
        </p:nvCxnSpPr>
        <p:spPr bwMode="auto">
          <a:xfrm>
            <a:off x="852488" y="2303463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Straight Connector 557"/>
          <p:cNvCxnSpPr/>
          <p:nvPr>
            <p:custDataLst>
              <p:tags r:id="rId38"/>
            </p:custDataLst>
          </p:nvPr>
        </p:nvCxnSpPr>
        <p:spPr bwMode="auto">
          <a:xfrm>
            <a:off x="852487" y="39052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9"/>
            </p:custDataLst>
          </p:nvPr>
        </p:nvCxnSpPr>
        <p:spPr bwMode="auto">
          <a:xfrm>
            <a:off x="852488" y="37274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40"/>
            </p:custDataLst>
          </p:nvPr>
        </p:nvCxnSpPr>
        <p:spPr bwMode="auto">
          <a:xfrm>
            <a:off x="852488" y="3549650"/>
            <a:ext cx="3968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5" name="Chart 104"/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951485372"/>
              </p:ext>
            </p:extLst>
          </p:nvPr>
        </p:nvGraphicFramePr>
        <p:xfrm>
          <a:off x="665163" y="1550988"/>
          <a:ext cx="8418512" cy="383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120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14338" y="4548188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92F55C8-B520-4FCC-A27C-E719867238A1}" type="datetime'''''1''''''5'''''''',''''''0''''''''''''''''''''''''0''''0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14338" y="2767013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98BCD7F-6B4E-45B1-B301-7B921A743512}" type="datetime'''6''''''''''''''''5'''''',''''''''''''''''''''''0''0''0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5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14338" y="2589213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FA1A4E-0DAF-4CBB-BEF7-8E6DC5991B20}" type="datetime'''70'',''''''''''''''''''0''''''''''''0''''''0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79425" y="4905375"/>
            <a:ext cx="293688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28313F-965B-4317-BF36-D77A6B04D93F}" type="datetime'''''5,''0''0''''''''''''''''''''''''0''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08025" y="5083175"/>
            <a:ext cx="65088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5322D08-C998-4066-873B-6211B0BEC3CE}" type="datetime'''''''''''''''''''''''''''''''''0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4338" y="4725988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4BFD15-0567-45A1-A290-4F042FA8ACCA}" type="datetime'''''''''1''''''''''''''''''''''''''''''''0,''00''0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14338" y="38354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C9316C7-F472-42F2-992E-498191DC16F0}" type="datetime'''''35,''''''''''''''''''0''''''''''0''''''''''''''''0''''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14338" y="4192588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61FBC6-5DF7-448A-B2E1-9824E99704AC}" type="datetime'2''5'''''',''''''''''''''0''''0''''''''''''''''''''''''0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14338" y="33020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B19D88-7B5D-4F7E-980F-EB3C29C5B9F1}" type="datetime'''''50'''''''',''''''0''''''''''''''''''''''''''''0''''0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14338" y="4370388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D05A3A-085B-4F03-81A2-1A863FFE2546}" type="datetime'''''''''''''''''''''''''2''''0'''',''''''''''0''''''''''''00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49250" y="1563688"/>
            <a:ext cx="423863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848C17-2D90-4D9C-A3AD-AE716F437C1D}" type="datetime'''''1''''''''''5''5'''',0''''''''''''''''''0''0''''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14338" y="29464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4CB09ED-EB89-4AF3-8ADB-6AC174770B78}" type="datetime'''6''0'''''''',''''''''0''''''0''0''''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14338" y="36576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19B84B-0991-4E4D-9203-AFDFD7DE8767}" type="datetime'''''4''''''''''0,0''0''0''''''''''''''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14338" y="2233613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DDA9558-FF3E-4499-A3D7-35ED382C9E6F}" type="datetime'''''''''80'''''',''0''''0''''0''''''''''''''''''''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14338" y="34798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CBF3EE3-973B-4356-80BF-A5EDD165AA05}" type="datetime'''''''''4''''''''''''''''''''''''5'''',0''''0''''0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14338" y="2411413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D461A8-8C69-404A-B850-2187B174AB20}" type="datetime'7''''''''5'''',''''''''''0''''''''''0''''''''0''''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5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14338" y="3124200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CBE08E-5F1F-4E8F-8C11-05D22AFDD78E}" type="datetime'''''''''''''''''''''''''''55'''',0''0''''''''0'''''">
              <a:rPr kumimoji="0" lang="en-US" altLang="en-US" sz="923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5,000</a:t>
            </a:fld>
            <a:endParaRPr kumimoji="0" lang="en-US" altLang="en-US" sz="923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414338" y="4014788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2E0FC7-0366-4A0A-B7DB-0F41AB99E8A5}" type="datetime'''''''''''3''''0'''''''',''00''''''''''0''''''''''''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14338" y="2055813"/>
            <a:ext cx="3587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EBD5501-CED8-431A-94BB-CBE2B42D331B}" type="datetime'''''8''''5,''''''''0''''''''''''''''''0''''''''''0'''">
              <a:rPr kumimoji="0" lang="en-US" altLang="en-US" sz="923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r" defTabSz="8440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5,000</a:t>
            </a:fld>
            <a:endParaRPr kumimoji="0" lang="en-US" altLang="en-US" sz="923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8" name="Freeform 7"/>
          <p:cNvSpPr/>
          <p:nvPr>
            <p:custDataLst>
              <p:tags r:id="rId61"/>
            </p:custDataLst>
          </p:nvPr>
        </p:nvSpPr>
        <p:spPr bwMode="auto">
          <a:xfrm>
            <a:off x="820738" y="1779588"/>
            <a:ext cx="412751" cy="79376"/>
          </a:xfrm>
          <a:custGeom>
            <a:avLst/>
            <a:gdLst/>
            <a:ahLst/>
            <a:cxnLst/>
            <a:rect l="0" t="0" r="0" b="0"/>
            <a:pathLst>
              <a:path w="4127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 useBgFill="1">
        <p:nvSpPr>
          <p:cNvPr id="11" name="Freeform 10"/>
          <p:cNvSpPr/>
          <p:nvPr>
            <p:custDataLst>
              <p:tags r:id="rId62"/>
            </p:custDataLst>
          </p:nvPr>
        </p:nvSpPr>
        <p:spPr bwMode="auto">
          <a:xfrm>
            <a:off x="819150" y="19018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 useBgFill="1">
        <p:nvSpPr>
          <p:cNvPr id="14" name="Freeform 13"/>
          <p:cNvSpPr/>
          <p:nvPr>
            <p:custDataLst>
              <p:tags r:id="rId63"/>
            </p:custDataLst>
          </p:nvPr>
        </p:nvSpPr>
        <p:spPr bwMode="auto">
          <a:xfrm>
            <a:off x="1169988" y="1909763"/>
            <a:ext cx="330201" cy="79376"/>
          </a:xfrm>
          <a:custGeom>
            <a:avLst/>
            <a:gdLst/>
            <a:ahLst/>
            <a:cxnLst/>
            <a:rect l="0" t="0" r="0" b="0"/>
            <a:pathLst>
              <a:path w="330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3" name="Freeform 2"/>
          <p:cNvSpPr/>
          <p:nvPr>
            <p:custDataLst>
              <p:tags r:id="rId64"/>
            </p:custDataLst>
          </p:nvPr>
        </p:nvSpPr>
        <p:spPr bwMode="auto">
          <a:xfrm>
            <a:off x="820738" y="1779588"/>
            <a:ext cx="412751" cy="22226"/>
          </a:xfrm>
          <a:custGeom>
            <a:avLst/>
            <a:gdLst/>
            <a:ahLst/>
            <a:cxnLst/>
            <a:rect l="0" t="0" r="0" b="0"/>
            <a:pathLst>
              <a:path w="412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9" name="Freeform 8"/>
          <p:cNvSpPr/>
          <p:nvPr>
            <p:custDataLst>
              <p:tags r:id="rId65"/>
            </p:custDataLst>
          </p:nvPr>
        </p:nvSpPr>
        <p:spPr bwMode="auto">
          <a:xfrm>
            <a:off x="819150" y="19018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10" name="Freeform 9"/>
          <p:cNvSpPr/>
          <p:nvPr>
            <p:custDataLst>
              <p:tags r:id="rId66"/>
            </p:custDataLst>
          </p:nvPr>
        </p:nvSpPr>
        <p:spPr bwMode="auto">
          <a:xfrm>
            <a:off x="819150" y="19589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12" name="Freeform 11"/>
          <p:cNvSpPr/>
          <p:nvPr>
            <p:custDataLst>
              <p:tags r:id="rId67"/>
            </p:custDataLst>
          </p:nvPr>
        </p:nvSpPr>
        <p:spPr bwMode="auto">
          <a:xfrm>
            <a:off x="1169988" y="1909763"/>
            <a:ext cx="330201" cy="22226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02999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13" name="Freeform 12"/>
          <p:cNvSpPr/>
          <p:nvPr>
            <p:custDataLst>
              <p:tags r:id="rId68"/>
            </p:custDataLst>
          </p:nvPr>
        </p:nvSpPr>
        <p:spPr bwMode="auto">
          <a:xfrm>
            <a:off x="1169988" y="1966913"/>
            <a:ext cx="330201" cy="22226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02999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4" name="Freeform 3"/>
          <p:cNvSpPr/>
          <p:nvPr>
            <p:custDataLst>
              <p:tags r:id="rId69"/>
            </p:custDataLst>
          </p:nvPr>
        </p:nvSpPr>
        <p:spPr bwMode="auto">
          <a:xfrm>
            <a:off x="820738" y="1836738"/>
            <a:ext cx="412751" cy="22226"/>
          </a:xfrm>
          <a:custGeom>
            <a:avLst/>
            <a:gdLst/>
            <a:ahLst/>
            <a:cxnLst/>
            <a:rect l="0" t="0" r="0" b="0"/>
            <a:pathLst>
              <a:path w="4127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56" name="TextBox 55"/>
          <p:cNvSpPr txBox="1"/>
          <p:nvPr/>
        </p:nvSpPr>
        <p:spPr bwMode="auto">
          <a:xfrm>
            <a:off x="517396" y="1207919"/>
            <a:ext cx="235567" cy="42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215" b="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t</a:t>
            </a:r>
            <a:endParaRPr kumimoji="0" lang="en-US" sz="2215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829288" y="6567644"/>
            <a:ext cx="4248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738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вор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IP -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e on Emission Inventories and Projections</a:t>
            </a:r>
            <a:r>
              <a:rPr kumimoji="0" lang="sr-Cyrl-RS" sz="900" b="0" i="1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ЈП ЕПС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646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 flipV="1">
            <a:off x="811562" y="6581754"/>
            <a:ext cx="7503152" cy="1021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3" name="Group 202"/>
          <p:cNvGrpSpPr/>
          <p:nvPr/>
        </p:nvGrpSpPr>
        <p:grpSpPr>
          <a:xfrm>
            <a:off x="892175" y="5754488"/>
            <a:ext cx="2626263" cy="751286"/>
            <a:chOff x="5364105" y="5742342"/>
            <a:chExt cx="2626263" cy="751286"/>
          </a:xfrm>
        </p:grpSpPr>
        <p:sp>
          <p:nvSpPr>
            <p:cNvPr id="204" name="TextBox 203"/>
            <p:cNvSpPr txBox="1"/>
            <p:nvPr/>
          </p:nvSpPr>
          <p:spPr bwMode="auto">
            <a:xfrm>
              <a:off x="7124952" y="598673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умунија</a:t>
              </a:r>
              <a:endPara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5" name="TextBox 204"/>
            <p:cNvSpPr txBox="1"/>
            <p:nvPr/>
          </p:nvSpPr>
          <p:spPr bwMode="auto">
            <a:xfrm>
              <a:off x="7124952" y="575112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љска</a:t>
              </a:r>
              <a:endPara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6" name="TextBox 205"/>
            <p:cNvSpPr txBox="1"/>
            <p:nvPr/>
          </p:nvSpPr>
          <p:spPr bwMode="auto">
            <a:xfrm>
              <a:off x="5868105" y="5742342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Бугарска</a:t>
              </a:r>
              <a:endPara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7" name="TextBox 206"/>
            <p:cNvSpPr txBox="1"/>
            <p:nvPr/>
          </p:nvSpPr>
          <p:spPr bwMode="auto">
            <a:xfrm>
              <a:off x="5868105" y="5974903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Чешка</a:t>
              </a:r>
              <a:endPara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8" name="TextBox 207"/>
            <p:cNvSpPr txBox="1"/>
            <p:nvPr/>
          </p:nvSpPr>
          <p:spPr bwMode="auto">
            <a:xfrm>
              <a:off x="5868105" y="6216629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емачка</a:t>
              </a:r>
              <a:endPara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09" name="Straight Connector 208"/>
            <p:cNvCxnSpPr/>
            <p:nvPr/>
          </p:nvCxnSpPr>
          <p:spPr>
            <a:xfrm>
              <a:off x="6620952" y="6107466"/>
              <a:ext cx="504000" cy="0"/>
            </a:xfrm>
            <a:prstGeom prst="line">
              <a:avLst/>
            </a:prstGeom>
            <a:ln w="31750">
              <a:solidFill>
                <a:schemeClr val="accent3">
                  <a:lumMod val="1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/>
          </p:nvCxnSpPr>
          <p:spPr>
            <a:xfrm>
              <a:off x="5364105" y="6366728"/>
              <a:ext cx="504000" cy="0"/>
            </a:xfrm>
            <a:prstGeom prst="line">
              <a:avLst/>
            </a:prstGeom>
            <a:ln w="31750">
              <a:solidFill>
                <a:srgbClr val="4881BD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>
              <a:off x="5364105" y="6107467"/>
              <a:ext cx="504000" cy="0"/>
            </a:xfrm>
            <a:prstGeom prst="line">
              <a:avLst/>
            </a:prstGeom>
            <a:ln w="31750">
              <a:solidFill>
                <a:srgbClr val="02999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>
              <a:off x="5364105" y="5866866"/>
              <a:ext cx="504000" cy="0"/>
            </a:xfrm>
            <a:prstGeom prst="line">
              <a:avLst/>
            </a:prstGeom>
            <a:ln w="31750">
              <a:solidFill>
                <a:srgbClr val="80808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Group 111"/>
          <p:cNvGrpSpPr/>
          <p:nvPr/>
        </p:nvGrpSpPr>
        <p:grpSpPr>
          <a:xfrm>
            <a:off x="959644" y="1611193"/>
            <a:ext cx="3880327" cy="1513312"/>
            <a:chOff x="1156130" y="3133050"/>
            <a:chExt cx="3884477" cy="1305714"/>
          </a:xfrm>
        </p:grpSpPr>
        <p:cxnSp>
          <p:nvCxnSpPr>
            <p:cNvPr id="113" name="Straight Arrow Connector 112"/>
            <p:cNvCxnSpPr/>
            <p:nvPr/>
          </p:nvCxnSpPr>
          <p:spPr>
            <a:xfrm flipV="1">
              <a:off x="3091679" y="3332921"/>
              <a:ext cx="0" cy="25241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4" name="Group 113"/>
            <p:cNvGrpSpPr/>
            <p:nvPr/>
          </p:nvGrpSpPr>
          <p:grpSpPr>
            <a:xfrm>
              <a:off x="1156130" y="3133050"/>
              <a:ext cx="3884477" cy="1305714"/>
              <a:chOff x="1156130" y="3133050"/>
              <a:chExt cx="3884477" cy="1305714"/>
            </a:xfrm>
          </p:grpSpPr>
          <p:sp>
            <p:nvSpPr>
              <p:cNvPr id="115" name="Oval 114"/>
              <p:cNvSpPr/>
              <p:nvPr/>
            </p:nvSpPr>
            <p:spPr>
              <a:xfrm>
                <a:off x="1156130" y="3604185"/>
                <a:ext cx="3884477" cy="834579"/>
              </a:xfrm>
              <a:prstGeom prst="ellipse">
                <a:avLst/>
              </a:prstGeom>
              <a:no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TextBox 115"/>
              <p:cNvSpPr txBox="1"/>
              <p:nvPr/>
            </p:nvSpPr>
            <p:spPr bwMode="auto">
              <a:xfrm>
                <a:off x="2214953" y="3133050"/>
                <a:ext cx="1766830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r-Cyrl-RS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рорачунате вредности</a:t>
                </a:r>
                <a:endParaRPr kumimoji="0" 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17" name="TextBox 116"/>
          <p:cNvSpPr txBox="1"/>
          <p:nvPr/>
        </p:nvSpPr>
        <p:spPr bwMode="auto">
          <a:xfrm>
            <a:off x="2653022" y="6212227"/>
            <a:ext cx="1861618" cy="285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бија – само ЈП ЕПС</a:t>
            </a:r>
            <a:endParaRPr kumimoji="0" lang="sr-Latn-RS" sz="1200" b="0" i="0" u="none" strike="noStrike" kern="1200" cap="none" spc="0" normalizeH="0" baseline="0" noProof="0" dirty="0" smtClean="0">
              <a:ln>
                <a:noFill/>
              </a:ln>
              <a:solidFill>
                <a:srgbClr val="366092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8" name="Straight Connector 117"/>
          <p:cNvCxnSpPr/>
          <p:nvPr/>
        </p:nvCxnSpPr>
        <p:spPr>
          <a:xfrm>
            <a:off x="2137578" y="6355222"/>
            <a:ext cx="526887" cy="0"/>
          </a:xfrm>
          <a:prstGeom prst="line">
            <a:avLst/>
          </a:prstGeom>
          <a:ln w="3175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 bwMode="auto">
          <a:xfrm>
            <a:off x="4187061" y="5771375"/>
            <a:ext cx="178075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бија – само ЈП ЕПС</a:t>
            </a:r>
            <a:endParaRPr kumimoji="0" lang="sr-Latn-RS" sz="1200" b="0" i="0" u="none" strike="noStrike" kern="1200" cap="none" spc="0" normalizeH="0" baseline="0" noProof="0" dirty="0" smtClean="0">
              <a:ln>
                <a:noFill/>
              </a:ln>
              <a:solidFill>
                <a:srgbClr val="366092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5" name="Straight Connector 124"/>
          <p:cNvCxnSpPr/>
          <p:nvPr/>
        </p:nvCxnSpPr>
        <p:spPr>
          <a:xfrm>
            <a:off x="3683061" y="5909064"/>
            <a:ext cx="504000" cy="0"/>
          </a:xfrm>
          <a:prstGeom prst="lin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2137578" y="5879012"/>
            <a:ext cx="504000" cy="0"/>
          </a:xfrm>
          <a:prstGeom prst="line">
            <a:avLst/>
          </a:prstGeom>
          <a:ln w="317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87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8" grpId="0">
        <p:bldAsOne/>
      </p:bldGraphic>
      <p:bldP spid="117" grpId="0"/>
      <p:bldP spid="1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220867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sr-Latn-RS" sz="10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6" name="Chart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7423340"/>
              </p:ext>
            </p:extLst>
          </p:nvPr>
        </p:nvGraphicFramePr>
        <p:xfrm>
          <a:off x="635179" y="1125635"/>
          <a:ext cx="8740274" cy="4581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4" name="Straight Connector 3"/>
          <p:cNvCxnSpPr/>
          <p:nvPr>
            <p:custDataLst>
              <p:tags r:id="rId4"/>
            </p:custDataLst>
          </p:nvPr>
        </p:nvCxnSpPr>
        <p:spPr bwMode="auto">
          <a:xfrm>
            <a:off x="920750" y="3654425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auto">
          <a:xfrm>
            <a:off x="920750" y="3317875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6"/>
            </p:custDataLst>
          </p:nvPr>
        </p:nvCxnSpPr>
        <p:spPr bwMode="auto">
          <a:xfrm>
            <a:off x="920750" y="1633538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7"/>
            </p:custDataLst>
          </p:nvPr>
        </p:nvCxnSpPr>
        <p:spPr bwMode="auto">
          <a:xfrm>
            <a:off x="920750" y="5002213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Connector 472"/>
          <p:cNvCxnSpPr/>
          <p:nvPr>
            <p:custDataLst>
              <p:tags r:id="rId8"/>
            </p:custDataLst>
          </p:nvPr>
        </p:nvCxnSpPr>
        <p:spPr bwMode="auto">
          <a:xfrm>
            <a:off x="920750" y="4329113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9"/>
            </p:custDataLst>
          </p:nvPr>
        </p:nvCxnSpPr>
        <p:spPr bwMode="auto">
          <a:xfrm>
            <a:off x="920750" y="4665663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0"/>
            </p:custDataLst>
          </p:nvPr>
        </p:nvCxnSpPr>
        <p:spPr bwMode="auto">
          <a:xfrm>
            <a:off x="920750" y="3990975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Straight Connector 471"/>
          <p:cNvCxnSpPr/>
          <p:nvPr>
            <p:custDataLst>
              <p:tags r:id="rId11"/>
            </p:custDataLst>
          </p:nvPr>
        </p:nvCxnSpPr>
        <p:spPr bwMode="auto">
          <a:xfrm>
            <a:off x="920750" y="2981325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12"/>
            </p:custDataLst>
          </p:nvPr>
        </p:nvCxnSpPr>
        <p:spPr bwMode="auto">
          <a:xfrm>
            <a:off x="920750" y="2644775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3"/>
            </p:custDataLst>
          </p:nvPr>
        </p:nvCxnSpPr>
        <p:spPr bwMode="auto">
          <a:xfrm>
            <a:off x="920750" y="2306638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4"/>
            </p:custDataLst>
          </p:nvPr>
        </p:nvCxnSpPr>
        <p:spPr bwMode="auto">
          <a:xfrm>
            <a:off x="920750" y="1970088"/>
            <a:ext cx="8021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Chart 39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70432200"/>
              </p:ext>
            </p:extLst>
          </p:nvPr>
        </p:nvGraphicFramePr>
        <p:xfrm>
          <a:off x="246063" y="1535113"/>
          <a:ext cx="8923337" cy="4037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56" name="TextBox 55"/>
          <p:cNvSpPr txBox="1"/>
          <p:nvPr/>
        </p:nvSpPr>
        <p:spPr bwMode="auto">
          <a:xfrm>
            <a:off x="517396" y="1207919"/>
            <a:ext cx="235567" cy="42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215" b="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t</a:t>
            </a:r>
            <a:endParaRPr kumimoji="0" lang="en-US" sz="2215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itle 2"/>
          <p:cNvSpPr txBox="1">
            <a:spLocks/>
          </p:cNvSpPr>
          <p:nvPr/>
        </p:nvSpPr>
        <p:spPr bwMode="auto">
          <a:xfrm>
            <a:off x="-1" y="119171"/>
            <a:ext cx="8271803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NOx </a:t>
            </a: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у сектору производње електричне енергије и даљинског грејања</a:t>
            </a: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Latn-R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9288" y="6567644"/>
            <a:ext cx="4248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738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вор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IP -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on Emission Inventories and Projection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646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811562" y="6581754"/>
            <a:ext cx="7503152" cy="1021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635179" y="2503469"/>
            <a:ext cx="8604242" cy="4025514"/>
            <a:chOff x="643454" y="2510422"/>
            <a:chExt cx="8604242" cy="4025514"/>
          </a:xfrm>
        </p:grpSpPr>
        <p:graphicFrame>
          <p:nvGraphicFramePr>
            <p:cNvPr id="37" name="Chart 36"/>
            <p:cNvGraphicFramePr>
              <a:graphicFrameLocks/>
            </p:cNvGraphicFramePr>
            <p:nvPr>
              <p:extLst/>
            </p:nvPr>
          </p:nvGraphicFramePr>
          <p:xfrm>
            <a:off x="643454" y="2510422"/>
            <a:ext cx="8604242" cy="30241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sp>
          <p:nvSpPr>
            <p:cNvPr id="6" name="TextBox 5"/>
            <p:cNvSpPr txBox="1"/>
            <p:nvPr/>
          </p:nvSpPr>
          <p:spPr bwMode="auto">
            <a:xfrm>
              <a:off x="2461306" y="6258937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рбиј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1957306" y="6396626"/>
              <a:ext cx="504000" cy="0"/>
            </a:xfrm>
            <a:prstGeom prst="line">
              <a:avLst/>
            </a:prstGeom>
            <a:ln w="31750">
              <a:solidFill>
                <a:srgbClr val="C0000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700459" y="5772240"/>
            <a:ext cx="2626263" cy="751286"/>
            <a:chOff x="5364105" y="5742342"/>
            <a:chExt cx="2626263" cy="751286"/>
          </a:xfrm>
        </p:grpSpPr>
        <p:sp>
          <p:nvSpPr>
            <p:cNvPr id="69" name="TextBox 68"/>
            <p:cNvSpPr txBox="1"/>
            <p:nvPr/>
          </p:nvSpPr>
          <p:spPr bwMode="auto">
            <a:xfrm>
              <a:off x="7124952" y="598673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умуниј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 bwMode="auto">
            <a:xfrm>
              <a:off x="7124952" y="575112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љс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 bwMode="auto">
            <a:xfrm>
              <a:off x="5868105" y="5742342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Бугарс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 bwMode="auto">
            <a:xfrm>
              <a:off x="5868105" y="5974903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Чеш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 bwMode="auto">
            <a:xfrm>
              <a:off x="5868105" y="6216629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емач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4" name="Straight Connector 73"/>
            <p:cNvCxnSpPr/>
            <p:nvPr/>
          </p:nvCxnSpPr>
          <p:spPr>
            <a:xfrm>
              <a:off x="6620952" y="6107466"/>
              <a:ext cx="504000" cy="0"/>
            </a:xfrm>
            <a:prstGeom prst="line">
              <a:avLst/>
            </a:prstGeom>
            <a:ln w="31750">
              <a:solidFill>
                <a:schemeClr val="accent3">
                  <a:lumMod val="1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6623978" y="5878054"/>
              <a:ext cx="504000" cy="0"/>
            </a:xfrm>
            <a:prstGeom prst="line">
              <a:avLst/>
            </a:prstGeom>
            <a:ln w="31750">
              <a:solidFill>
                <a:srgbClr val="FFC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5364105" y="6366728"/>
              <a:ext cx="504000" cy="0"/>
            </a:xfrm>
            <a:prstGeom prst="line">
              <a:avLst/>
            </a:prstGeom>
            <a:ln w="31750">
              <a:solidFill>
                <a:srgbClr val="4881BD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5364105" y="6107467"/>
              <a:ext cx="504000" cy="0"/>
            </a:xfrm>
            <a:prstGeom prst="line">
              <a:avLst/>
            </a:prstGeom>
            <a:ln w="31750">
              <a:solidFill>
                <a:srgbClr val="00777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5364105" y="5866866"/>
              <a:ext cx="504000" cy="0"/>
            </a:xfrm>
            <a:prstGeom prst="line">
              <a:avLst/>
            </a:prstGeom>
            <a:ln w="31750">
              <a:solidFill>
                <a:srgbClr val="80808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/>
          <p:cNvSpPr txBox="1"/>
          <p:nvPr/>
        </p:nvSpPr>
        <p:spPr bwMode="auto">
          <a:xfrm>
            <a:off x="4187061" y="5771375"/>
            <a:ext cx="178075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бија – само ЈП ЕПС</a:t>
            </a:r>
            <a:endParaRPr kumimoji="0" lang="sr-Latn-RS" sz="1200" b="0" i="0" u="none" strike="noStrike" kern="1200" cap="none" spc="0" normalizeH="0" baseline="0" noProof="0" dirty="0" smtClean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3683061" y="5909064"/>
            <a:ext cx="504000" cy="0"/>
          </a:xfrm>
          <a:prstGeom prst="line">
            <a:avLst/>
          </a:prstGeom>
          <a:ln w="31750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0641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6" grpId="0">
        <p:bldAsOne/>
      </p:bldGraphic>
      <p:bldP spid="3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407747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sr-Latn-RS" sz="10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7" name="Chart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1963361"/>
              </p:ext>
            </p:extLst>
          </p:nvPr>
        </p:nvGraphicFramePr>
        <p:xfrm>
          <a:off x="699112" y="2313157"/>
          <a:ext cx="8415339" cy="3024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0" y="119001"/>
            <a:ext cx="8271803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SO</a:t>
            </a:r>
            <a:r>
              <a:rPr kumimoji="0" lang="sr-Latn-RS" alt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2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у сектору производње електричне енергије и даљинског грејања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Latn-R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cxnSp>
        <p:nvCxnSpPr>
          <p:cNvPr id="17" name="Straight Connector 16"/>
          <p:cNvCxnSpPr/>
          <p:nvPr>
            <p:custDataLst>
              <p:tags r:id="rId4"/>
            </p:custDataLst>
          </p:nvPr>
        </p:nvCxnSpPr>
        <p:spPr bwMode="auto">
          <a:xfrm>
            <a:off x="931863" y="4232275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5"/>
            </p:custDataLst>
          </p:nvPr>
        </p:nvCxnSpPr>
        <p:spPr bwMode="auto">
          <a:xfrm>
            <a:off x="931863" y="3948113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6"/>
            </p:custDataLst>
          </p:nvPr>
        </p:nvCxnSpPr>
        <p:spPr bwMode="auto">
          <a:xfrm>
            <a:off x="931863" y="1666875"/>
            <a:ext cx="79835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7"/>
            </p:custDataLst>
          </p:nvPr>
        </p:nvCxnSpPr>
        <p:spPr bwMode="auto">
          <a:xfrm>
            <a:off x="931863" y="4803775"/>
            <a:ext cx="798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>
            <a:off x="931863" y="5087938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9"/>
            </p:custDataLst>
          </p:nvPr>
        </p:nvCxnSpPr>
        <p:spPr bwMode="auto">
          <a:xfrm>
            <a:off x="931863" y="4518025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0"/>
            </p:custDataLst>
          </p:nvPr>
        </p:nvCxnSpPr>
        <p:spPr bwMode="auto">
          <a:xfrm>
            <a:off x="931863" y="3378200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1"/>
            </p:custDataLst>
          </p:nvPr>
        </p:nvCxnSpPr>
        <p:spPr bwMode="auto">
          <a:xfrm>
            <a:off x="931863" y="3662363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2"/>
            </p:custDataLst>
          </p:nvPr>
        </p:nvCxnSpPr>
        <p:spPr bwMode="auto">
          <a:xfrm>
            <a:off x="931863" y="2236788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3"/>
            </p:custDataLst>
          </p:nvPr>
        </p:nvCxnSpPr>
        <p:spPr bwMode="auto">
          <a:xfrm>
            <a:off x="931863" y="3092450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4"/>
            </p:custDataLst>
          </p:nvPr>
        </p:nvCxnSpPr>
        <p:spPr bwMode="auto">
          <a:xfrm>
            <a:off x="931863" y="2808288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5"/>
            </p:custDataLst>
          </p:nvPr>
        </p:nvCxnSpPr>
        <p:spPr bwMode="auto">
          <a:xfrm>
            <a:off x="931863" y="2522538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6"/>
            </p:custDataLst>
          </p:nvPr>
        </p:nvCxnSpPr>
        <p:spPr bwMode="auto">
          <a:xfrm>
            <a:off x="931863" y="1952625"/>
            <a:ext cx="79835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Chart 35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18120162"/>
              </p:ext>
            </p:extLst>
          </p:nvPr>
        </p:nvGraphicFramePr>
        <p:xfrm>
          <a:off x="152400" y="1568450"/>
          <a:ext cx="8990013" cy="403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56" name="TextBox 55"/>
          <p:cNvSpPr txBox="1"/>
          <p:nvPr/>
        </p:nvSpPr>
        <p:spPr bwMode="auto">
          <a:xfrm>
            <a:off x="517396" y="1207919"/>
            <a:ext cx="235567" cy="42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215" b="0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t</a:t>
            </a:r>
            <a:endParaRPr kumimoji="0" lang="en-US" sz="2215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9288" y="6615269"/>
            <a:ext cx="4248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738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вор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IP -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on Emission Inventories and Projections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646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811562" y="6629379"/>
            <a:ext cx="7503152" cy="1021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931863" y="5760041"/>
            <a:ext cx="2626263" cy="751286"/>
            <a:chOff x="5364105" y="5742342"/>
            <a:chExt cx="2626263" cy="751286"/>
          </a:xfrm>
        </p:grpSpPr>
        <p:sp>
          <p:nvSpPr>
            <p:cNvPr id="45" name="TextBox 44"/>
            <p:cNvSpPr txBox="1"/>
            <p:nvPr/>
          </p:nvSpPr>
          <p:spPr bwMode="auto">
            <a:xfrm>
              <a:off x="7124952" y="598673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умуниј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 bwMode="auto">
            <a:xfrm>
              <a:off x="7124952" y="5751125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љс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 bwMode="auto">
            <a:xfrm>
              <a:off x="5868105" y="5742342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Бугарс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 bwMode="auto">
            <a:xfrm>
              <a:off x="5868105" y="5974903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Чеш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5868105" y="6216629"/>
              <a:ext cx="86541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емачка</a:t>
              </a:r>
              <a:endPara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6620952" y="6107466"/>
              <a:ext cx="504000" cy="0"/>
            </a:xfrm>
            <a:prstGeom prst="line">
              <a:avLst/>
            </a:prstGeom>
            <a:ln w="31750">
              <a:solidFill>
                <a:schemeClr val="accent3">
                  <a:lumMod val="1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6623978" y="5878054"/>
              <a:ext cx="504000" cy="0"/>
            </a:xfrm>
            <a:prstGeom prst="line">
              <a:avLst/>
            </a:prstGeom>
            <a:ln w="31750">
              <a:solidFill>
                <a:srgbClr val="FFC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5364105" y="6366728"/>
              <a:ext cx="504000" cy="0"/>
            </a:xfrm>
            <a:prstGeom prst="line">
              <a:avLst/>
            </a:prstGeom>
            <a:ln w="31750">
              <a:solidFill>
                <a:srgbClr val="4881BD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5364105" y="6107467"/>
              <a:ext cx="504000" cy="0"/>
            </a:xfrm>
            <a:prstGeom prst="line">
              <a:avLst/>
            </a:prstGeom>
            <a:ln w="31750">
              <a:solidFill>
                <a:srgbClr val="02999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5364105" y="5866866"/>
              <a:ext cx="504000" cy="0"/>
            </a:xfrm>
            <a:prstGeom prst="line">
              <a:avLst/>
            </a:prstGeom>
            <a:ln w="31750">
              <a:solidFill>
                <a:srgbClr val="80808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TextBox 56"/>
          <p:cNvSpPr txBox="1"/>
          <p:nvPr/>
        </p:nvSpPr>
        <p:spPr bwMode="auto">
          <a:xfrm>
            <a:off x="2672181" y="6207461"/>
            <a:ext cx="178075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бија</a:t>
            </a:r>
            <a:endParaRPr kumimoji="0" lang="sr-Latn-RS" sz="1200" b="0" i="0" u="none" strike="noStrike" kern="1200" cap="none" spc="0" normalizeH="0" baseline="0" noProof="0" dirty="0" smtClean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2193142" y="6354679"/>
            <a:ext cx="504000" cy="0"/>
          </a:xfrm>
          <a:prstGeom prst="line">
            <a:avLst/>
          </a:prstGeom>
          <a:ln w="31750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464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7" grpId="0">
        <p:bldAsOne/>
      </p:bldGraphic>
      <p:bldP spid="5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3" name="think-cell Slide" r:id="rId156" imgW="384" imgH="384" progId="TCLayout.ActiveDocument.1">
                  <p:embed/>
                </p:oleObj>
              </mc:Choice>
              <mc:Fallback>
                <p:oleObj name="think-cell Slide" r:id="rId156" imgW="384" imgH="384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1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72000"/>
            <a:ext cx="8640000" cy="792000"/>
          </a:xfrm>
        </p:spPr>
        <p:txBody>
          <a:bodyPr anchor="ctr"/>
          <a:lstStyle/>
          <a:p>
            <a:r>
              <a:rPr lang="sr-Cyrl-RS" sz="2400" b="0" dirty="0"/>
              <a:t>Смањење емисија </a:t>
            </a:r>
            <a:r>
              <a:rPr lang="sr-Cyrl-RS" sz="2400" b="0" dirty="0" smtClean="0"/>
              <a:t>из сектора производње електричне и топлотне енергије у </a:t>
            </a:r>
            <a:r>
              <a:rPr lang="sr-Cyrl-RS" sz="2400" b="0" dirty="0"/>
              <a:t>појединим земљама</a:t>
            </a:r>
            <a:endParaRPr lang="en-US" sz="2400" b="0" dirty="0"/>
          </a:p>
        </p:txBody>
      </p:sp>
      <p:sp>
        <p:nvSpPr>
          <p:cNvPr id="11" name="TextBox 10"/>
          <p:cNvSpPr txBox="1"/>
          <p:nvPr/>
        </p:nvSpPr>
        <p:spPr>
          <a:xfrm>
            <a:off x="-176113" y="916891"/>
            <a:ext cx="1704775" cy="3356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ашкасте материје</a:t>
            </a:r>
            <a:endParaRPr kumimoji="0" lang="en-US" sz="1000" b="0" i="0" u="sng" strike="noStrike" kern="1200" cap="none" spc="0" normalizeH="0" baseline="-25000" noProof="0" dirty="0" err="1" smtClean="0">
              <a:ln>
                <a:noFill/>
              </a:ln>
              <a:solidFill>
                <a:srgbClr val="00319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30" name="Chart 329"/>
          <p:cNvGraphicFramePr/>
          <p:nvPr>
            <p:custDataLst>
              <p:tags r:id="rId4"/>
            </p:custDataLst>
          </p:nvPr>
        </p:nvGraphicFramePr>
        <p:xfrm>
          <a:off x="608013" y="4616450"/>
          <a:ext cx="7878762" cy="127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8"/>
          </a:graphicData>
        </a:graphic>
      </p:graphicFrame>
      <p:sp>
        <p:nvSpPr>
          <p:cNvPr id="12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12763" y="5741988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56E376C-D37D-4F90-8A0E-E83FCABB027A}" type="datetime'''''''''''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9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263" y="5297488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0CD365-5840-4778-97BD-7391C38EE6AF}" type="datetime'''''''''1''''''.''''''''''0''0''''''0''.0''''0''0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0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3513" y="5519738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CD9EF3-6A28-4C79-A695-CB34F49BE765}" type="datetime'''''''''''''''''''''5''''''''0''''''0''''''''.''0''''''''''0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4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263" y="4630738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0F5D39-2096-44D3-89F4-91D039DFDE70}" type="datetime'''''2.''''''''5''''''''''''''''''0''''''0.''00''''''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5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4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263" y="5075238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92C299-6057-4440-8A6A-24F4A251074C}" type="datetime'''''1''.''''5''''''00''.0''''0''0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5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263" y="4852988"/>
            <a:ext cx="508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111238-961F-4DE8-83AB-4C66C2F828F3}" type="datetime'''2''''.''0''''''''''0''''0''.0''''0''''''''''''''''0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0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145" name="Straight Connector 144"/>
          <p:cNvCxnSpPr/>
          <p:nvPr>
            <p:custDataLst>
              <p:tags r:id="rId11"/>
            </p:custDataLst>
          </p:nvPr>
        </p:nvCxnSpPr>
        <p:spPr bwMode="auto">
          <a:xfrm flipV="1">
            <a:off x="1103313" y="5068888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>
            <p:custDataLst>
              <p:tags r:id="rId12"/>
            </p:custDataLst>
          </p:nvPr>
        </p:nvCxnSpPr>
        <p:spPr bwMode="auto">
          <a:xfrm>
            <a:off x="1103313" y="50688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>
            <p:custDataLst>
              <p:tags r:id="rId13"/>
            </p:custDataLst>
          </p:nvPr>
        </p:nvCxnSpPr>
        <p:spPr bwMode="auto">
          <a:xfrm>
            <a:off x="1562100" y="5068888"/>
            <a:ext cx="0" cy="520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>
            <p:custDataLst>
              <p:tags r:id="rId14"/>
            </p:custDataLst>
          </p:nvPr>
        </p:nvCxnSpPr>
        <p:spPr bwMode="auto">
          <a:xfrm flipV="1">
            <a:off x="2389188" y="491966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15"/>
            </p:custDataLst>
          </p:nvPr>
        </p:nvCxnSpPr>
        <p:spPr bwMode="auto">
          <a:xfrm>
            <a:off x="2847975" y="4919663"/>
            <a:ext cx="0" cy="665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16"/>
            </p:custDataLst>
          </p:nvPr>
        </p:nvCxnSpPr>
        <p:spPr bwMode="auto">
          <a:xfrm>
            <a:off x="2389188" y="491966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17"/>
            </p:custDataLst>
          </p:nvPr>
        </p:nvCxnSpPr>
        <p:spPr bwMode="auto">
          <a:xfrm>
            <a:off x="3675063" y="435451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>
            <p:custDataLst>
              <p:tags r:id="rId18"/>
            </p:custDataLst>
          </p:nvPr>
        </p:nvCxnSpPr>
        <p:spPr bwMode="auto">
          <a:xfrm>
            <a:off x="4133850" y="4354513"/>
            <a:ext cx="0" cy="1196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>
            <p:custDataLst>
              <p:tags r:id="rId19"/>
            </p:custDataLst>
          </p:nvPr>
        </p:nvCxnSpPr>
        <p:spPr bwMode="auto">
          <a:xfrm flipV="1">
            <a:off x="3675063" y="435451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20"/>
            </p:custDataLst>
          </p:nvPr>
        </p:nvCxnSpPr>
        <p:spPr bwMode="auto">
          <a:xfrm>
            <a:off x="5418138" y="4475163"/>
            <a:ext cx="0" cy="10191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/>
          <p:nvPr>
            <p:custDataLst>
              <p:tags r:id="rId21"/>
            </p:custDataLst>
          </p:nvPr>
        </p:nvCxnSpPr>
        <p:spPr bwMode="auto">
          <a:xfrm flipV="1">
            <a:off x="4959350" y="447516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22"/>
            </p:custDataLst>
          </p:nvPr>
        </p:nvCxnSpPr>
        <p:spPr bwMode="auto">
          <a:xfrm>
            <a:off x="4959350" y="447516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23"/>
            </p:custDataLst>
          </p:nvPr>
        </p:nvCxnSpPr>
        <p:spPr bwMode="auto">
          <a:xfrm>
            <a:off x="6704013" y="5170488"/>
            <a:ext cx="0" cy="4111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24"/>
            </p:custDataLst>
          </p:nvPr>
        </p:nvCxnSpPr>
        <p:spPr bwMode="auto">
          <a:xfrm>
            <a:off x="6245225" y="51704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25"/>
            </p:custDataLst>
          </p:nvPr>
        </p:nvCxnSpPr>
        <p:spPr bwMode="auto">
          <a:xfrm flipV="1">
            <a:off x="6245225" y="5170488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6"/>
            </p:custDataLst>
          </p:nvPr>
        </p:nvCxnSpPr>
        <p:spPr bwMode="auto">
          <a:xfrm flipV="1">
            <a:off x="7531100" y="5286375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7"/>
            </p:custDataLst>
          </p:nvPr>
        </p:nvCxnSpPr>
        <p:spPr bwMode="auto">
          <a:xfrm>
            <a:off x="7531100" y="5286375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8"/>
            </p:custDataLst>
          </p:nvPr>
        </p:nvCxnSpPr>
        <p:spPr bwMode="auto">
          <a:xfrm>
            <a:off x="7989888" y="5286376"/>
            <a:ext cx="0" cy="3159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371600" y="5627688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F80E32-0AF2-48FE-AB9C-83A4BCD5676A}" type="datetime'''4''''7''''''''''''.''''''''''''''5''''''1''''3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7.51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4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308850" y="5497513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DB94F7-A613-41C0-BB78-BEDA7949AA1F}" type="datetime'''3''''''''''''''''''3''9''.5''9''''''''''''''''''''5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9.595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910138" y="5856288"/>
            <a:ext cx="558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B83801-945C-4133-9CB1-F63ED210C9E8}" type="datetime'''''П''''''о''''''љ''''''''''''''''с''''''''''''''к''а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Пољ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576638" y="5856288"/>
            <a:ext cx="6556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C235123-D7CC-46B9-A865-ADA158BA2662}" type="datetime'''''''''''''''''''''''''''''''''''Н''ем''а''ч''к''а''''*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Немачка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99388" y="5640388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D3A06C-211E-40B1-A618-4C2139ADD32A}" type="datetime'''''''1''''7''.''''''''''''''''''''''''''3''''''0''''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.3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95888" y="5532438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5981C-B3DC-424E-874E-1F35955B7018}" type="datetime'''''''''''''''2''''''''''6''''''0.''8''''''''''86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0.886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12825" y="5856288"/>
            <a:ext cx="638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28D6D7-C892-4140-ADD8-C9DA744B77D5}" type="datetime'Б''''''''''''у''''''''г''ар''с''''''''''''''ка''''''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Бугар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405188" y="4565650"/>
            <a:ext cx="539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0A006F4-A67C-4FE0-8718-3205B5B16FDD}" type="datetime'''''''''''''''''''''2''''''''''.''''''43''''''''5.30''''''''8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435.30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911600" y="5589588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8776C6-9F02-4D3E-B26F-097B6DAB2DA1}" type="datetime'''''1''''30''''''''''''''''''.''''''''''''''''''''918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0.91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81063" y="5280025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5CF2D3-8BF5-4043-92DA-F4E4678B4F34}" type="datetime'''''8''2''''''9''.''4''''''1''''3''''''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29.41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119313" y="5130800"/>
            <a:ext cx="539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914640-EF81-47EE-90FE-98979865B977}" type="datetime'''''''''''1''.''''''''''1''''''''''''''''''65''''.''1''''''42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165.14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657475" y="5622925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356F3D-CE84-4022-8E6A-45B4A425A70B}" type="datetime'''''''''''''''''''''''''''''''''56.''8''2''''''''''''0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.82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392363" y="5856288"/>
            <a:ext cx="4524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E5B86E-AC57-4023-81C4-B6828CE40DC1}" type="datetime'''''''''''''''''''Ч''''''е''''''''шк''''''''''''а''''''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Чеш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022975" y="5381625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1FAC3F-489F-44A8-9ADB-D4485C47BE12}" type="datetime'''''''''''''5''''''''9''''''''''''9''''.''83''''''8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99.83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513513" y="5619750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4D56939-CE3B-43EE-8209-6D6FDF3E77E6}" type="datetime'''''''6''''5''.''''''''''''''''''''1''''''''''''''''''''57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.157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462838" y="5856288"/>
            <a:ext cx="595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961CF3C-A550-41E0-BE80-8BBA5D8B6727}" type="datetime'''''''''''''С''''р''''''б''''''''''и''''''ј''''''а*''''''''*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41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Србија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C413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067425" y="5856288"/>
            <a:ext cx="812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904D379-3371-43EC-BC68-B15CE5D4D944}" type="datetime'''''''Рум''у''''''н''''и''''ј''''''''''''''''а''**''''*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Румунија*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689475" y="4686300"/>
            <a:ext cx="539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E2C261-00F7-448B-82CC-B8182ECE339A}" type="datetime'''''''''''2.''''''''1''''6''4''''''''.0''''''''''28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.164.02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30288" y="49720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BE22FD-04B5-4113-9F4D-ED23B3ADC687}" type="datetime'-''''''''''''''''9''''''4'''''''''''''',''''2''''''''7''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4,27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316163" y="482282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30CD88-5CBF-4F7F-98D7-20A4FF67BA4E}" type="datetime'''''''''''''''''-95'''''''''''''''''',''1''''''''''''''2''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5,12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602038" y="425767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D01C8EF-2DAA-41CF-AF19-F5F1AFB04D83}" type="datetime'''''''''''-''94'''''''''''''',''''''''''''''''62%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4,62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886325" y="437832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21364A-9D28-4257-9D62-5B99C0F9BDE5}" type="datetime'-''''''''8''''7'''''''''''''',9''4''''''''''''''''''''%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87,94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172200" y="50736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A196524-1A41-4A17-9EEC-1D328513C4FA}" type="datetime'''''''''''-''8''''''''9'''',''''''''14''''''''''''''%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89,14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5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458075" y="5189538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461F0E-3125-41E9-B02A-28381521EFED}" type="datetime'''-94'''',''''''''''''''''9''''''''''''1''''''''''''''''''%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4,91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/>
          <p:nvPr>
            <p:custDataLst>
              <p:tags r:id="rId53"/>
            </p:custDataLst>
          </p:nvPr>
        </p:nvSpPr>
        <p:spPr bwMode="auto">
          <a:xfrm>
            <a:off x="736600" y="6075363"/>
            <a:ext cx="160338" cy="120650"/>
          </a:xfrm>
          <a:prstGeom prst="rect">
            <a:avLst/>
          </a:prstGeom>
          <a:solidFill>
            <a:srgbClr val="00319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>
            <p:custDataLst>
              <p:tags r:id="rId54"/>
            </p:custDataLst>
          </p:nvPr>
        </p:nvSpPr>
        <p:spPr bwMode="auto">
          <a:xfrm>
            <a:off x="1303338" y="6075363"/>
            <a:ext cx="160338" cy="120650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47738" y="6072188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87970F-C01A-4427-ABC2-856747D1ACAF}" type="datetime'''''''''''''1''''''''9''''''''''9''''''''''''''''''''''''''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9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514475" y="6072188"/>
            <a:ext cx="25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EAC5F06-E2F2-4436-B2CC-20123D3393C8}" type="datetime'''''''''''''''2''0''''''''''''''''''''''''''''''1''''''''''7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7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15083" y="4305862"/>
            <a:ext cx="676275" cy="3356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</a:t>
            </a:r>
            <a:r>
              <a:rPr kumimoji="0" lang="sr-Latn-RS" sz="1000" b="0" i="0" u="sng" strike="noStrike" kern="1200" cap="none" spc="0" normalizeH="0" baseline="-2500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sr-Latn-RS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t</a:t>
            </a:r>
            <a:endParaRPr kumimoji="0" lang="en-US" sz="1000" b="0" i="0" u="sng" strike="noStrike" kern="1200" cap="none" spc="0" normalizeH="0" baseline="-25000" noProof="0" dirty="0" err="1" smtClean="0">
              <a:ln>
                <a:noFill/>
              </a:ln>
              <a:solidFill>
                <a:srgbClr val="00319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TextBox 202"/>
          <p:cNvSpPr txBox="1"/>
          <p:nvPr/>
        </p:nvSpPr>
        <p:spPr>
          <a:xfrm>
            <a:off x="14288" y="2484779"/>
            <a:ext cx="676275" cy="33655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kumimoji="0" lang="en-GB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</a:t>
            </a:r>
            <a:r>
              <a:rPr kumimoji="0" lang="sr-Latn-RS" sz="1000" b="0" i="0" u="sng" strike="noStrike" kern="1200" cap="none" spc="0" normalizeH="0" baseline="-25000" noProof="0" dirty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sr-Latn-RS" sz="1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319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t</a:t>
            </a:r>
            <a:endParaRPr kumimoji="0" lang="en-US" sz="1000" b="0" i="0" u="sng" strike="noStrike" kern="1200" cap="none" spc="0" normalizeH="0" baseline="-25000" noProof="0" dirty="0" err="1" smtClean="0">
              <a:ln>
                <a:noFill/>
              </a:ln>
              <a:solidFill>
                <a:srgbClr val="00319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07" name="Chart 306"/>
          <p:cNvGraphicFramePr/>
          <p:nvPr>
            <p:custDataLst>
              <p:tags r:id="rId57"/>
            </p:custDataLst>
          </p:nvPr>
        </p:nvGraphicFramePr>
        <p:xfrm>
          <a:off x="612775" y="2900363"/>
          <a:ext cx="7874000" cy="121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9"/>
          </a:graphicData>
        </a:graphic>
      </p:graphicFrame>
      <p:sp>
        <p:nvSpPr>
          <p:cNvPr id="206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168275" y="3787775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B34C3E-7527-4837-8211-85886199C231}" type="datetime'''''1''''''''0''''''''''''0''''.''0''0''''0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68275" y="3438525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C11611-D4F5-4ADA-908E-5CFAEBF85E25}" type="datetime'''''''3''''''''''''00''''''''''''''''.''''''''00''''''0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68275" y="3263900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B74AC4-3998-472B-B996-3A456AA6FA7B}" type="datetime'''''''4''''''0''0.''''''''''''''0''''''0''''''''0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17525" y="3962400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7DCB6F-9687-480B-8CD0-CDD3AD1AD9ED}" type="datetime'''''''''''''''''''''''''''''''''''''''0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68275" y="3613150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87F196-B78E-4F93-ABEF-FF498426340D}" type="datetime'''''200''.''''''''0''''''00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8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68275" y="3089275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814898F-207B-448B-ABB7-74D0ABDA5174}" type="datetime'''''''''''''50''0''''''''''''.''''0''''0''''''''''0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1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68275" y="2914650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7D6FAE-466D-4490-914F-0A6E110A4630}" type="datetime'''''''''''''''6''''''0''''0''.''''''0''''''''''0''''0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216" name="Straight Connector 215"/>
          <p:cNvCxnSpPr/>
          <p:nvPr>
            <p:custDataLst>
              <p:tags r:id="rId65"/>
            </p:custDataLst>
          </p:nvPr>
        </p:nvCxnSpPr>
        <p:spPr bwMode="auto">
          <a:xfrm flipV="1">
            <a:off x="1106488" y="3549650"/>
            <a:ext cx="0" cy="180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>
            <p:custDataLst>
              <p:tags r:id="rId66"/>
            </p:custDataLst>
          </p:nvPr>
        </p:nvCxnSpPr>
        <p:spPr bwMode="auto">
          <a:xfrm>
            <a:off x="1565275" y="3549650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>
            <p:custDataLst>
              <p:tags r:id="rId67"/>
            </p:custDataLst>
          </p:nvPr>
        </p:nvCxnSpPr>
        <p:spPr bwMode="auto">
          <a:xfrm>
            <a:off x="1106487" y="3549650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/>
          <p:nvPr>
            <p:custDataLst>
              <p:tags r:id="rId68"/>
            </p:custDataLst>
          </p:nvPr>
        </p:nvCxnSpPr>
        <p:spPr bwMode="auto">
          <a:xfrm flipV="1">
            <a:off x="2392363" y="309086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>
            <p:custDataLst>
              <p:tags r:id="rId69"/>
            </p:custDataLst>
          </p:nvPr>
        </p:nvCxnSpPr>
        <p:spPr bwMode="auto">
          <a:xfrm>
            <a:off x="2392362" y="309086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>
            <p:custDataLst>
              <p:tags r:id="rId70"/>
            </p:custDataLst>
          </p:nvPr>
        </p:nvCxnSpPr>
        <p:spPr bwMode="auto">
          <a:xfrm>
            <a:off x="2851150" y="3090863"/>
            <a:ext cx="0" cy="666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>
            <p:custDataLst>
              <p:tags r:id="rId71"/>
            </p:custDataLst>
          </p:nvPr>
        </p:nvCxnSpPr>
        <p:spPr bwMode="auto">
          <a:xfrm>
            <a:off x="4135438" y="2846388"/>
            <a:ext cx="0" cy="533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>
            <p:custDataLst>
              <p:tags r:id="rId72"/>
            </p:custDataLst>
          </p:nvPr>
        </p:nvCxnSpPr>
        <p:spPr bwMode="auto">
          <a:xfrm flipV="1">
            <a:off x="3676650" y="2846388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>
            <p:custDataLst>
              <p:tags r:id="rId73"/>
            </p:custDataLst>
          </p:nvPr>
        </p:nvCxnSpPr>
        <p:spPr bwMode="auto">
          <a:xfrm>
            <a:off x="3676649" y="28463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74"/>
            </p:custDataLst>
          </p:nvPr>
        </p:nvCxnSpPr>
        <p:spPr bwMode="auto">
          <a:xfrm>
            <a:off x="5419725" y="2711450"/>
            <a:ext cx="0" cy="8048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>
            <p:custDataLst>
              <p:tags r:id="rId75"/>
            </p:custDataLst>
          </p:nvPr>
        </p:nvCxnSpPr>
        <p:spPr bwMode="auto">
          <a:xfrm>
            <a:off x="4960937" y="2711450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/>
          <p:nvPr>
            <p:custDataLst>
              <p:tags r:id="rId76"/>
            </p:custDataLst>
          </p:nvPr>
        </p:nvCxnSpPr>
        <p:spPr bwMode="auto">
          <a:xfrm flipV="1">
            <a:off x="4960938" y="2711450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>
            <p:custDataLst>
              <p:tags r:id="rId77"/>
            </p:custDataLst>
          </p:nvPr>
        </p:nvCxnSpPr>
        <p:spPr bwMode="auto">
          <a:xfrm>
            <a:off x="6705600" y="3435350"/>
            <a:ext cx="0" cy="3286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>
            <p:custDataLst>
              <p:tags r:id="rId78"/>
            </p:custDataLst>
          </p:nvPr>
        </p:nvCxnSpPr>
        <p:spPr bwMode="auto">
          <a:xfrm>
            <a:off x="6246813" y="3435350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/>
          <p:cNvCxnSpPr/>
          <p:nvPr>
            <p:custDataLst>
              <p:tags r:id="rId79"/>
            </p:custDataLst>
          </p:nvPr>
        </p:nvCxnSpPr>
        <p:spPr bwMode="auto">
          <a:xfrm flipV="1">
            <a:off x="6246813" y="3435350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80"/>
            </p:custDataLst>
          </p:nvPr>
        </p:nvCxnSpPr>
        <p:spPr bwMode="auto">
          <a:xfrm flipV="1">
            <a:off x="7531100" y="3549650"/>
            <a:ext cx="0" cy="204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81"/>
            </p:custDataLst>
          </p:nvPr>
        </p:nvCxnSpPr>
        <p:spPr bwMode="auto">
          <a:xfrm>
            <a:off x="7989888" y="3549650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82"/>
            </p:custDataLst>
          </p:nvPr>
        </p:nvCxnSpPr>
        <p:spPr bwMode="auto">
          <a:xfrm>
            <a:off x="7531100" y="3549650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Text Placehold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017588" y="4076700"/>
            <a:ext cx="638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36EA87-FC3A-474A-A5F9-15FEA053E511}" type="datetime'''''''Б''''у''г''''''''''''а''''''''''''''''р''с''''к''''а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Бугар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23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464425" y="4076700"/>
            <a:ext cx="595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6985E3F-E129-4AD1-8936-B2E7C292C5ED}" type="datetime'''''''С''''''р''б''''и''''''''''''''''''ј''а*''''''''''''''*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41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Србија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C413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0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915988" y="3768725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D617BE-88CB-4D8A-880C-F5B1A23A021A}" type="datetime'''5''''7.0''''''''''''''''''''''36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7.036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9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069013" y="4076700"/>
            <a:ext cx="812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FCF2C1-C039-4738-A5BA-80F501660F2F}" type="datetime'''''''''Р''''''у''м''''ун''''''''''''''''''''ија*''''**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Румунија*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3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913188" y="3417888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6BD1FC-95D4-4795-9974-2B986D12AFF7}" type="datetime'''''''''''2''''''5''''''''''''''7''''''.''84''''5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7.845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5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2170113" y="3302000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5F11C9-6379-4F1E-A308-92A24AC5A6EB}" type="datetime'324''''''''''''''''''''''''.''''''''0''''''97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4.097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8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4911725" y="4076700"/>
            <a:ext cx="558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8927D0-DEAB-4533-AEFC-21A05862E880}" type="datetime'''''''П''''''ољ''с''''''''''''''''''''''к''''а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Пољ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6" name="Text Placehold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3606800" y="4076700"/>
            <a:ext cx="6016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894FA3-C0E4-4CB1-B33E-01528A4B8163}" type="datetime'''Не''''''м''а''''ч''''''''''''''''''''к''''''''''''''а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Немач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5" name="Text Placeholder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2395538" y="4076700"/>
            <a:ext cx="4524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C28EC0-A86B-4FF8-BF4A-75CD63569FB5}" type="datetime'''''''''''Ч''''''''''''''''''''''е''шк''''''''''''''''''а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Чеш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4738688" y="2922588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12830D-CC5F-419C-9151-9AED3413E44A}" type="datetime'54''''''''''''''2''''''''.08''''''''9''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2.089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2660650" y="3795713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235496-EEFE-4187-B3A2-0451D0F645AB}" type="datetime'''''''''''''4''''1''.''''''''''99''''''''''''''2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.99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3454400" y="3057525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CF4F3C-4CDA-4026-A971-61AE3FF8BFA9}" type="datetime'''''4''''''''''''''''''6''''''''4''.''''''3''6''''''''5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64.365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0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5197475" y="3554413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BB93A1-157D-457C-A99E-9B346EA88620}" type="datetime'''''1''''''80''''''''.''''''''''''0''8''''''''''''''''''''5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0.085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1374775" y="3836988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A881D63-083D-4AE8-AA98-5B2B2657C8CB}" type="datetime'''1''7''''''''.''9''''''''''''''0''''7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.907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1" name="Text Placeholder 2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024563" y="3646488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99E355-22FE-445B-9163-DD4D71B78DAD}" type="datetime'''''''''''''''1''''''''2''6.''96''''''6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6.966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2" name="Text Placeholder 2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515100" y="3802063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BA4AAA-6627-4113-9CC3-2AF5440451A7}" type="datetime'''''''3''''8''''.''''''''''2''''''''''''''''''82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.28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25" name="Text Placeholder 2"/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7340600" y="3792538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D61D53-A05B-4321-A9BC-93B34C520BA4}" type="datetime'''''''4''''''3''''.''''''''''''8''''''''''''''''''30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3.83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3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799388" y="3836988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68F0214-6D65-47DF-B7EC-2607C5C98369}" type="datetime'''''''''''''1''8''.38''''''''''''''2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.38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1033463" y="3452813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33ABA54-DAE5-4FA0-B2EE-77E6B7DC88AC}" type="datetime'''''''''''''''''''''''-''6''''''''''''8'',''6''0''''''''%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8,60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2319338" y="299402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A796E27-9C9C-4EB8-92EA-D8E751AED946}" type="datetime'''''-''''''''''''''''''''8''''''7,''''''''''''''''0''4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87,04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3603625" y="27495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26FDB9-3268-4562-85B0-8A44623D21DE}" type="datetime'''''''''''''-''''''''''''''44'''''''''''''',4''''''''''7''%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44,47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4887913" y="2614613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87D7BE-C7DD-416C-89A0-AE6D5E27C620}" type="datetime'-''''''''''66'',''''''''''7''''''''''''''''8''''''''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6,78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6173788" y="3338513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8B1D70-9678-4D86-8B42-286656C86B8F}" type="datetime'-69'''''''''',''''''''''8''''''5%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9,85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43" name="Text Placeholder 2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7458075" y="3452813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3922D74-89A6-499E-841A-4B9729FC27F3}" type="datetime'''''''''''-5''''''''''''''''''''''''''''''''8'',''06''''''%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58,06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02" name="Chart 301"/>
          <p:cNvGraphicFramePr/>
          <p:nvPr>
            <p:custDataLst>
              <p:tags r:id="rId107"/>
            </p:custDataLst>
          </p:nvPr>
        </p:nvGraphicFramePr>
        <p:xfrm>
          <a:off x="612775" y="1317625"/>
          <a:ext cx="7874000" cy="117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0"/>
          </a:graphicData>
        </a:graphic>
      </p:graphicFrame>
      <p:sp>
        <p:nvSpPr>
          <p:cNvPr id="192" name="Text Placeholder 2"/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231775" y="2089150"/>
            <a:ext cx="349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651039-981C-4B12-B1EE-33D1CEBD1CF1}" type="datetime'5''0''''.''''''0''''0''0''''''''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2" name="Text Placeholder 2"/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517525" y="2341563"/>
            <a:ext cx="63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35CF19-1951-4F55-8AA6-2968CFB690F7}" type="datetime'''''''''''''''''''''''''''''''''''''''''''''''0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4" name="Text Placeholder 2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68275" y="1836738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334763B-1749-4683-8A5C-50B97F91EC53}" type="datetime'''''''''''1''''''''''''''00''.''0''0''''''''0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5" name="Text Placeholder 2"/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168275" y="1584325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62EBF2-7CB9-4AC1-B3E2-F914F6E8A7B7}" type="datetime'1''''5''''''''''0''''''''''''''.''000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168275" y="1331913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D40EF0-19A6-44E1-993F-E02F69C72C01}" type="datetime'''''''20''''''''0''''.''''''''''0''''''''''''0''''''''''0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0.0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279" name="Straight Connector 278"/>
          <p:cNvCxnSpPr/>
          <p:nvPr>
            <p:custDataLst>
              <p:tags r:id="rId113"/>
            </p:custDataLst>
          </p:nvPr>
        </p:nvCxnSpPr>
        <p:spPr bwMode="auto">
          <a:xfrm>
            <a:off x="1565275" y="1958975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>
            <p:custDataLst>
              <p:tags r:id="rId114"/>
            </p:custDataLst>
          </p:nvPr>
        </p:nvCxnSpPr>
        <p:spPr bwMode="auto">
          <a:xfrm flipV="1">
            <a:off x="1106488" y="1958975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>
            <p:custDataLst>
              <p:tags r:id="rId115"/>
            </p:custDataLst>
          </p:nvPr>
        </p:nvCxnSpPr>
        <p:spPr bwMode="auto">
          <a:xfrm>
            <a:off x="1106487" y="1958975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/>
          <p:nvPr>
            <p:custDataLst>
              <p:tags r:id="rId116"/>
            </p:custDataLst>
          </p:nvPr>
        </p:nvCxnSpPr>
        <p:spPr bwMode="auto">
          <a:xfrm flipV="1">
            <a:off x="2392363" y="1271588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>
            <p:custDataLst>
              <p:tags r:id="rId117"/>
            </p:custDataLst>
          </p:nvPr>
        </p:nvCxnSpPr>
        <p:spPr bwMode="auto">
          <a:xfrm>
            <a:off x="2392362" y="12715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>
            <p:custDataLst>
              <p:tags r:id="rId118"/>
            </p:custDataLst>
          </p:nvPr>
        </p:nvCxnSpPr>
        <p:spPr bwMode="auto">
          <a:xfrm>
            <a:off x="2851150" y="1271588"/>
            <a:ext cx="0" cy="928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>
            <p:custDataLst>
              <p:tags r:id="rId119"/>
            </p:custDataLst>
          </p:nvPr>
        </p:nvCxnSpPr>
        <p:spPr bwMode="auto">
          <a:xfrm flipV="1">
            <a:off x="3676650" y="1931988"/>
            <a:ext cx="0" cy="1952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>
            <p:custDataLst>
              <p:tags r:id="rId120"/>
            </p:custDataLst>
          </p:nvPr>
        </p:nvCxnSpPr>
        <p:spPr bwMode="auto">
          <a:xfrm>
            <a:off x="3676649" y="19319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>
            <p:custDataLst>
              <p:tags r:id="rId121"/>
            </p:custDataLst>
          </p:nvPr>
        </p:nvCxnSpPr>
        <p:spPr bwMode="auto">
          <a:xfrm>
            <a:off x="4135438" y="1931988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/>
          <p:cNvCxnSpPr/>
          <p:nvPr>
            <p:custDataLst>
              <p:tags r:id="rId122"/>
            </p:custDataLst>
          </p:nvPr>
        </p:nvCxnSpPr>
        <p:spPr bwMode="auto">
          <a:xfrm flipV="1">
            <a:off x="4960938" y="183991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/>
          <p:nvPr>
            <p:custDataLst>
              <p:tags r:id="rId123"/>
            </p:custDataLst>
          </p:nvPr>
        </p:nvCxnSpPr>
        <p:spPr bwMode="auto">
          <a:xfrm>
            <a:off x="4960937" y="183991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>
            <p:custDataLst>
              <p:tags r:id="rId124"/>
            </p:custDataLst>
          </p:nvPr>
        </p:nvCxnSpPr>
        <p:spPr bwMode="auto">
          <a:xfrm>
            <a:off x="5419725" y="1839913"/>
            <a:ext cx="0" cy="3063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25"/>
            </p:custDataLst>
          </p:nvPr>
        </p:nvCxnSpPr>
        <p:spPr bwMode="auto">
          <a:xfrm>
            <a:off x="6246812" y="1881188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/>
          <p:cNvCxnSpPr/>
          <p:nvPr>
            <p:custDataLst>
              <p:tags r:id="rId126"/>
            </p:custDataLst>
          </p:nvPr>
        </p:nvCxnSpPr>
        <p:spPr bwMode="auto">
          <a:xfrm flipV="1">
            <a:off x="6246813" y="1881188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/>
          <p:cNvCxnSpPr/>
          <p:nvPr>
            <p:custDataLst>
              <p:tags r:id="rId127"/>
            </p:custDataLst>
          </p:nvPr>
        </p:nvCxnSpPr>
        <p:spPr bwMode="auto">
          <a:xfrm>
            <a:off x="6705600" y="1881188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28"/>
            </p:custDataLst>
          </p:nvPr>
        </p:nvCxnSpPr>
        <p:spPr bwMode="auto">
          <a:xfrm>
            <a:off x="7531099" y="1700213"/>
            <a:ext cx="458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29"/>
            </p:custDataLst>
          </p:nvPr>
        </p:nvCxnSpPr>
        <p:spPr bwMode="auto">
          <a:xfrm>
            <a:off x="7989888" y="1700213"/>
            <a:ext cx="0" cy="5016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30"/>
            </p:custDataLst>
          </p:nvPr>
        </p:nvCxnSpPr>
        <p:spPr bwMode="auto">
          <a:xfrm flipV="1">
            <a:off x="7531100" y="1700213"/>
            <a:ext cx="0" cy="17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Text Placeholder 2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2395538" y="2455863"/>
            <a:ext cx="4524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F2CFA41-456E-4AE0-A402-42254C03634D}" type="datetime'''''Ч''''''''''''''е''''''''''''шк''''''''а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Чеш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4" name="Text Placeholder 2"/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5229225" y="2184400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AB3356-0216-4DF6-BC55-6DAE7D29AF72}" type="datetime'''''''''''''1''''''2''''.''4''''''''5''''''''''1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451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0" name="Text Placeholder 2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3606800" y="2455863"/>
            <a:ext cx="6016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98E9E4-99F7-47AA-AA64-BA24D1F9305E}" type="datetime'Н''''е''''''''''''''м''''ачка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Немач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5" name="Text Placeholder 2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6056313" y="2092325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680C790-58A4-44CE-9594-A0EC19DB371F}" type="datetime'''''''''''''''''3''''''0''''''.''''''''''6''8''''''''''3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.68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0" name="Text Placeholder 2"/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7340600" y="1911350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BC06E1-9F8A-4F15-B0DC-FE6F2D3A8BD1}" type="datetime'''''''''''66''''''''''''.''''''6''2''''''''''2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6.62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6" name="Text Placeholder 2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6546850" y="2227263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E0EDAD-5448-480A-8201-6555A415C062}" type="datetime'''''4''''''''''''''''''''''''''''.''''''''''''2''1''9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.219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8" name="Text Placeholder 2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017588" y="2455863"/>
            <a:ext cx="638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E66D64-8105-458E-81E6-0FF6470F8AB0}" type="datetime'''''''''''Бу''''''г''''''''''''''''''ар''''''с''ка''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Бугар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2" name="Text Placeholder 2"/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4911725" y="2455863"/>
            <a:ext cx="558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C015AF-4DE0-4AF2-B307-E0A7BFB8BB36}" type="datetime'''П''''''''''о''љ''''''''''''''ск''''''''''а''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Пољска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3" name="Text Placeholder 2"/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1454150" y="2246314"/>
            <a:ext cx="222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59B8148-E5F3-4FFD-B948-341E088B8DC5}" type="datetime'4''''''''''''''''''''''''''''''4''2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42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3" name="Text Placeholder 2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6069013" y="2455863"/>
            <a:ext cx="812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50C7F6-EAFA-4B79-ABF2-8DEAC46EF630}" type="datetime'''''''Р''''''у''''''м''ун''и''''''''''''ја*''''''''''''**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Румунија*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9" name="Text Placeholder 2"/>
          <p:cNvSpPr>
            <a:spLocks noGrp="1"/>
          </p:cNvSpPr>
          <p:nvPr>
            <p:custDataLst>
              <p:tags r:id="rId141"/>
            </p:custDataLst>
          </p:nvPr>
        </p:nvSpPr>
        <p:spPr bwMode="gray">
          <a:xfrm>
            <a:off x="2170113" y="1482725"/>
            <a:ext cx="444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A49366E-1B5D-4CA5-AD53-931F952DEEA8}" type="datetime'151''''.62''''''''''''''''''''''''7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1.627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0" name="Text Placeholder 2"/>
          <p:cNvSpPr>
            <a:spLocks noGrp="1"/>
          </p:cNvSpPr>
          <p:nvPr>
            <p:custDataLst>
              <p:tags r:id="rId142"/>
            </p:custDataLst>
          </p:nvPr>
        </p:nvSpPr>
        <p:spPr bwMode="gray">
          <a:xfrm>
            <a:off x="2692400" y="2238375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A5A27A-4717-48DB-939B-6032064FC0B4}" type="datetime'''''''''1.''''''''9''''''''''''4''''''''''''''''''3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943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8" name="Text Placeholder 2"/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3486150" y="2165350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92418A-C002-4741-98CD-37D239775E38}" type="datetime'''''''''''''''''1''6''''''''''''''''''.''''''''39''''8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.39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03" name="Text Placeholder 2"/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4770438" y="2051050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92330E-1C1B-468A-B5A7-6D1E1485A540}" type="datetime'''''''''3''''''''''''''''''''9.''''14''''''''1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.141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8" name="Text Placeholder 2"/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7464425" y="2455863"/>
            <a:ext cx="5953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1CC0083-50DB-4A63-8772-F3833F652E65}" type="datetime'С''''''''''р''''''б''''''''''и''ја''''''''''*''''*'''''''''''">
              <a:rPr kumimoji="0" lang="sr-Cyrl-RS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C413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Србија**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C413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3" name="Text Placeholder 2"/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7831138" y="2239963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0C5E5A-C9D1-47D2-A029-2929A9042CEE}" type="datetime'''''''''1.''70''''''0''''''''''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70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4" name="Text Placeholder 2"/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915988" y="2195513"/>
            <a:ext cx="381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BA9FEE-E9E3-4F8F-BE71-9FD4306D03CD}" type="datetime'''''''''''''1''''''''0''''''.''''''3''''0''''''8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.308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17" name="Text Placeholder 2"/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3976688" y="2219325"/>
            <a:ext cx="317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194F701-1F4F-47ED-BC0A-B0834ACA2A82}" type="datetime'''''5''''''''''''''.''''''''''''''''''''5''''''8''''1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.581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0" name="Text Placeholder 2"/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1033463" y="1862138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9D6519-FAA9-41B1-9B92-B2B0539B9153}" type="datetime'''''''''-''9''5'''''''''',''''''''''''''7''''''1''%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5,71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1" name="Text Placeholder 2"/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2319338" y="11747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DC21D1F-8F24-4CDD-BA2C-4F7B6A82D63B}" type="datetime'''''-''''9''''''''8'''',''''''''7''''''''''''''''2''''''''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8,72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2" name="Text Placeholder 2"/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3603625" y="18351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4D20D9-0E81-48A9-B94E-90354994DA23}" type="datetime'''-6''''''''''5'''''''''''',''''9''7''%''''''''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5,97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4" name="Text Placeholder 2"/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4887913" y="174307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D664A46-5629-414C-90F0-99E34D634638}" type="datetime'''''-''''''''6''''''''''''''8,19''''''''''''''%''''''''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68,19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5" name="Text Placeholder 2"/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6173788" y="1784350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1F7A330-35DB-49FA-96BD-E08E5E9DF484}" type="datetime'-8''''''''''''''''''''''''''6'''',2''''''''''''''''5''%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86,25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07" name="Text Placeholder 2"/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7458075" y="1603375"/>
            <a:ext cx="60325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44083" rtl="0" eaLnBrk="1" latinLnBrk="0" hangingPunct="1">
              <a:spcBef>
                <a:spcPct val="20000"/>
              </a:spcBef>
              <a:buFontTx/>
              <a:buNone/>
              <a:defRPr sz="147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41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4083" indent="-211021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70521" indent="-215416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00652" indent="-212487" algn="l" defTabSz="844083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1227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69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310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238C03-3914-4FBB-9F8F-B09B3E5B656E}" type="datetime'''''''''''-9''''''''7'''''''''''''',''4''''5''''''''''%'''''">
              <a:rPr kumimoji="0" lang="en-U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97,45%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3544" y="6321426"/>
            <a:ext cx="7900681" cy="5972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За Немачку су емисије прашкастих материја приказане од 1995. годин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За Србију су приказане емисије само ЈП ЕПС-а, и то за 2003. годину (плави стубић) и за 2027. годину (процена стварних емисиј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За Румунију су приказани подаци од 1995. </a:t>
            </a:r>
            <a:r>
              <a:rPr kumimoji="0" lang="sr-Cyrl-R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одине</a:t>
            </a:r>
            <a:endParaRPr kumimoji="0" lang="sr-Cyrl-RS" sz="900" b="0" i="0" u="none" strike="noStrike" kern="1200" cap="none" spc="0" normalizeH="0" baseline="0" noProof="0" dirty="0">
              <a:ln>
                <a:noFill/>
              </a:ln>
              <a:solidFill>
                <a:srgbClr val="003192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61"/>
          <a:stretch>
            <a:fillRect/>
          </a:stretch>
        </p:blipFill>
        <p:spPr>
          <a:xfrm>
            <a:off x="7307863" y="6094847"/>
            <a:ext cx="1121761" cy="24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90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1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Cyrl-R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180000" y="72000"/>
            <a:ext cx="8640000" cy="792000"/>
          </a:xfrm>
        </p:spPr>
        <p:txBody>
          <a:bodyPr anchor="ctr"/>
          <a:lstStyle/>
          <a:p>
            <a:pPr>
              <a:defRPr/>
            </a:pPr>
            <a:r>
              <a:rPr lang="sr-Cyrl-RS" altLang="en-US" sz="24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ови у области ЗЖС до 2032. године</a:t>
            </a:r>
            <a:endParaRPr lang="en-US" altLang="en-US" sz="24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-169683" y="965720"/>
            <a:ext cx="8721969" cy="1014162"/>
          </a:xfrm>
          <a:prstGeom prst="rect">
            <a:avLst/>
          </a:prstGeom>
          <a:noFill/>
        </p:spPr>
        <p:txBody>
          <a:bodyPr wrap="square" tIns="83077" bIns="83077" rtlCol="0" anchor="t">
            <a:spAutoFit/>
          </a:bodyPr>
          <a:lstStyle/>
          <a:p>
            <a:pPr marL="685817" marR="0" lvl="1" indent="-26377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sr-Cyrl-R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области заштите животне средине идентификовано је </a:t>
            </a:r>
            <a:r>
              <a:rPr kumimoji="0" lang="sr-Cyrl-R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о 50 </a:t>
            </a:r>
            <a:r>
              <a:rPr kumimoji="0" lang="sr-Cyrl-R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јеката који морају да буду реализовани до </a:t>
            </a:r>
            <a:r>
              <a:rPr kumimoji="0" lang="sr-Cyrl-R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32. </a:t>
            </a:r>
            <a:r>
              <a:rPr kumimoji="0" lang="sr-Cyrl-R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дине, како би постројења ЈП ЕПС испоштовала прописе утврђене </a:t>
            </a:r>
            <a:r>
              <a:rPr kumimoji="0" lang="sr-Cyrl-R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маћим </a:t>
            </a:r>
            <a:r>
              <a:rPr kumimoji="0" lang="sr-Cyrl-R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онодавством, Споразумом о оснивању ЕЗ земаља ЈИЕ и ЕУ </a:t>
            </a:r>
            <a:r>
              <a:rPr kumimoji="0" lang="sr-Cyrl-R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улативом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685817" marR="0" lvl="1" indent="-26377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15963" marR="0" lvl="1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sr-Cyrl-R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а инвестиција и најважнији пројекти у области ЗЖС</a:t>
            </a:r>
            <a:endParaRPr kumimoji="0" lang="sr-Cyrl-R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728589"/>
              </p:ext>
            </p:extLst>
          </p:nvPr>
        </p:nvGraphicFramePr>
        <p:xfrm>
          <a:off x="406641" y="2081602"/>
          <a:ext cx="8186718" cy="4349990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2630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08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648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2408"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ЛАСТ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ВИЂЕНА СРЕДСТВ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ЈЗНАЧАЈНИЈИ ПРОЈЕКТИ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038">
                <a:tc rowSpan="2"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</a:t>
                      </a:r>
                      <a:r>
                        <a:rPr lang="en-U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штит</a:t>
                      </a: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</a:t>
                      </a:r>
                      <a:r>
                        <a:rPr lang="en-U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аздуха</a:t>
                      </a:r>
                    </a:p>
                  </a:txBody>
                  <a:tcPr marL="51542" marR="5154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8,4</a:t>
                      </a:r>
                      <a:r>
                        <a:rPr lang="sr-Cyrl-RS" sz="1000" b="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иона евра</a:t>
                      </a:r>
                      <a:endParaRPr lang="en-US" sz="1000" b="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зградња постројења за одсумпоравање димних гасова (ОДГ) на ТЕНТ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1 и А2, ТЕНТ Б1 и Б2, ТЕ-КО А1 и А2</a:t>
                      </a:r>
                      <a:r>
                        <a:rPr lang="sr-Latn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TE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КО Б1, Б2 и додатне мере за смањење </a:t>
                      </a:r>
                      <a:r>
                        <a:rPr lang="sr-Latn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x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ТЕ-КО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3, Изградња постројења за ОДГ на ТО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ерад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836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мена примарних и секундарних мера </a:t>
                      </a: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 deNOx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en-GB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-КО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2,</a:t>
                      </a:r>
                      <a:r>
                        <a:rPr lang="en-GB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-КО А1 и А2, примена секундарних мера за 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NOx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ТЕ-КО Б1, примена додатних мера за 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NOx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ТЕ-КО Б3, Примена примарних и секундарних мера на ТЕНТ Б1 и Б2, ТЕНТ А1, А2 и А6, примена секундарних мера за 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N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ТЕНТ А5, А3 и А4, Примена примарних и секундарних мера за </a:t>
                      </a:r>
                      <a:r>
                        <a:rPr lang="sr-Latn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NOx 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ТО Вреоци, Примена примарних и секундарних мера на ТЕ-ТО Сремска Митровица и Нови Сад</a:t>
                      </a:r>
                      <a:endParaRPr lang="sr-Cyrl-RS" sz="800" kern="12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датне мере за смањење прашкастих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материја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НТ А,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ЕНТ Б, ТЕ-КО А, ТЕ-КО Б1 и Б3, ТО Вреоци</a:t>
                      </a:r>
                      <a:endParaRPr lang="sr-Cyrl-RS" sz="800" kern="120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353">
                <a:tc rowSpan="4"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штита земљишт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sr-Latn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sr-Cyrl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,9</a:t>
                      </a:r>
                      <a:r>
                        <a:rPr lang="en-U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иона евра</a:t>
                      </a: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лагођавање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понија </a:t>
                      </a: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писима Републике Србије и ЕУ на ТЕНТ A, ТЕНТ Б, ТО Прерада РБ Колубара, 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53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мена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истема за транспорт пепела и шљаке на ТЕНТ А и ТЕ-КО 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3485772291"/>
                  </a:ext>
                </a:extLst>
              </a:tr>
              <a:tr h="2553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зградња нове касете за одлагање пепела и гипса у ТЕНТ 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4093670994"/>
                  </a:ext>
                </a:extLst>
              </a:tr>
              <a:tr h="16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едијација Средњег Костолачког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стрв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544">
                <a:tc rowSpan="2"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штита вод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,6</a:t>
                      </a:r>
                      <a:r>
                        <a:rPr lang="sr-Cyrl-RS" sz="1000" b="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иона </a:t>
                      </a:r>
                      <a:r>
                        <a:rPr lang="sr-Cyrl-RS" sz="1000" b="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вра</a:t>
                      </a:r>
                      <a:endParaRPr lang="en-US" sz="1000" b="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зградња постројења за третман отпадних вода (WWTP) на ТЕНТ Б, ТЕ Костолац Б, ТО Прерада РБ Колубара, ХЕ Ђердап и ДЛХЕ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02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ниторинг површинских и подземних вода у РБ Колубар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8272">
                <a:tc rowSpan="4"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рављање отпадом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spcAft>
                          <a:spcPts val="900"/>
                        </a:spcAft>
                      </a:pPr>
                      <a:r>
                        <a:rPr lang="sr-Cyrl-RS" sz="10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,2</a:t>
                      </a:r>
                      <a:r>
                        <a:rPr lang="en-US" sz="1000" b="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иона евра</a:t>
                      </a: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лиминација азбеста из свих енергетских,</a:t>
                      </a:r>
                      <a:r>
                        <a:rPr lang="sr-Cyrl-RS" sz="800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истрибутивних и рударских постројењ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32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тројење за привремено складиштење отпада на локацијама термоелектрана ЕПС-а, ХЕ Ђердап </a:t>
                      </a: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4 </a:t>
                      </a: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окације) на дистрибутивним огранцима (20 локација)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4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шење проблема пливајућег отпада у Огранку ХЕ Ђердап и Огранку ХЕ Бајина Башт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8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медијација депоније на ТЕ Колубара и ТЕ Морава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8272"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r>
                        <a:rPr lang="sr-Cyrl-RS" sz="800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купно</a:t>
                      </a: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000" b="1" kern="120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23,1</a:t>
                      </a:r>
                      <a:r>
                        <a:rPr lang="en-US" sz="1000" b="1" kern="120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r-Cyrl-RS" sz="1000" b="0" kern="120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лиона евра</a:t>
                      </a:r>
                      <a:endParaRPr lang="en-US" sz="1000" b="0" kern="120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900"/>
                        </a:spcAft>
                      </a:pPr>
                      <a:endParaRPr lang="en-US" sz="800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542" marR="51542" marT="0" marB="0"/>
                </a:tc>
                <a:extLst>
                  <a:ext uri="{0D108BD9-81ED-4DB2-BD59-A6C34878D82A}">
                    <a16:rowId xmlns:a16="http://schemas.microsoft.com/office/drawing/2014/main" val="502313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269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25602" y="3102981"/>
            <a:ext cx="2726644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249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вала на пажњи!</a:t>
            </a:r>
            <a:endParaRPr lang="en-US" sz="2492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107305" y="4611310"/>
            <a:ext cx="3143105" cy="1371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ЈП „Електропривреда Србије“</a:t>
            </a:r>
          </a:p>
          <a:p>
            <a:r>
              <a:rPr lang="sr-Cyrl-R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канска 13, 11000 Београд</a:t>
            </a:r>
          </a:p>
          <a:p>
            <a:endParaRPr lang="en-US" sz="1662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Cyrl-RS" sz="1662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62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eps.rs</a:t>
            </a:r>
          </a:p>
        </p:txBody>
      </p:sp>
    </p:spTree>
    <p:extLst>
      <p:ext uri="{BB962C8B-B14F-4D97-AF65-F5344CB8AC3E}">
        <p14:creationId xmlns:p14="http://schemas.microsoft.com/office/powerpoint/2010/main" val="399048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468209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r-Cyrl-R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4812" y="0"/>
            <a:ext cx="8707429" cy="674915"/>
          </a:xfrm>
          <a:extLst/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sr-Cyrl-RS" altLang="en-US" sz="2400" b="0" noProof="1">
                <a:latin typeface="Arial" panose="020B0604020202020204" pitchFamily="34" charset="0"/>
                <a:cs typeface="Arial" panose="020B0604020202020204" pitchFamily="34" charset="0"/>
              </a:rPr>
              <a:t>Стратешко опредељење и правац развоја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51520" y="1597024"/>
            <a:ext cx="8006360" cy="3394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eaLnBrk="0" hangingPunct="0">
              <a:lnSpc>
                <a:spcPct val="90000"/>
              </a:lnSpc>
              <a:spcBef>
                <a:spcPts val="554"/>
              </a:spcBef>
              <a:spcAft>
                <a:spcPts val="554"/>
              </a:spcAft>
              <a:buClr>
                <a:srgbClr val="C00000"/>
              </a:buClr>
              <a:buSzPct val="76000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кус активности и дугорочни циљеви ЕПС-а у наредним годинама:</a:t>
            </a: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јска стабилност и континуирано подизање </a:t>
            </a:r>
            <a:r>
              <a:rPr lang="sr-Cyrl-RS" sz="1477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табилности</a:t>
            </a:r>
            <a:endParaRPr lang="en-GB" sz="1477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ржавање и побољшање достигнутих техничких параметара (накнадна улагања </a:t>
            </a:r>
            <a:r>
              <a:rPr lang="sr-Cyrl-RS" sz="1477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</a:t>
            </a: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јеће капацитете</a:t>
            </a:r>
            <a:r>
              <a:rPr lang="sr-Cyrl-RS" sz="1477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1477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радња нових производних </a:t>
            </a:r>
            <a:r>
              <a:rPr lang="sr-Cyrl-RS" sz="1477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ацитета</a:t>
            </a:r>
            <a:endParaRPr lang="en-GB" sz="1477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ој и модернизација дистрибутивног система и </a:t>
            </a:r>
            <a:r>
              <a:rPr lang="sr-Cyrl-RS" sz="1477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реже</a:t>
            </a:r>
            <a:endParaRPr lang="en-GB" sz="1477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endParaRPr lang="sr-Cyrl-RS" sz="147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5" lvl="2" indent="-263775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buFont typeface="Courier New" panose="02070309020205020404" pitchFamily="49" charset="0"/>
              <a:buChar char="o"/>
              <a:defRPr/>
            </a:pPr>
            <a:r>
              <a:rPr lang="sr-Cyrl-RS" sz="147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апређење оперативне ефикасности </a:t>
            </a:r>
          </a:p>
          <a:p>
            <a:pPr marL="0" lvl="2" eaLnBrk="0" hangingPunct="0">
              <a:lnSpc>
                <a:spcPct val="90000"/>
              </a:lnSpc>
              <a:spcBef>
                <a:spcPts val="554"/>
              </a:spcBef>
              <a:buClr>
                <a:srgbClr val="C00000"/>
              </a:buClr>
              <a:buSzPct val="76000"/>
              <a:defRPr/>
            </a:pPr>
            <a:endParaRPr lang="sr-Cyrl-RS" sz="147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45488" y="1941513"/>
            <a:ext cx="273050" cy="273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2461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altLang="en-US" sz="2461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345488" y="2508250"/>
            <a:ext cx="273050" cy="273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2461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altLang="en-US" sz="2461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45488" y="3216275"/>
            <a:ext cx="273050" cy="273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2461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altLang="en-US" sz="2461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345488" y="3848100"/>
            <a:ext cx="273050" cy="273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2461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altLang="en-US" sz="2461" dirty="0">
              <a:solidFill>
                <a:srgbClr val="007770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45488" y="4405313"/>
            <a:ext cx="273050" cy="273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1" indent="-37146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3" indent="-309551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04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87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68" indent="-24764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50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33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14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896" indent="-247640" algn="l" defTabSz="99056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2461" dirty="0">
                <a:solidFill>
                  <a:srgbClr val="007770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</p:spTree>
    <p:extLst>
      <p:ext uri="{BB962C8B-B14F-4D97-AF65-F5344CB8AC3E}">
        <p14:creationId xmlns:p14="http://schemas.microsoft.com/office/powerpoint/2010/main" val="357460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943529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sr-Cyrl-RS" sz="24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5" y="72000"/>
            <a:ext cx="8640000" cy="792000"/>
          </a:xfrm>
        </p:spPr>
        <p:txBody>
          <a:bodyPr anchor="ctr"/>
          <a:lstStyle/>
          <a:p>
            <a:pPr eaLnBrk="0" fontAlgn="base" hangingPunct="0">
              <a:spcAft>
                <a:spcPct val="0"/>
              </a:spcAft>
            </a:pPr>
            <a:r>
              <a:rPr lang="sr-Cyrl-RS" sz="2400" dirty="0"/>
              <a:t>Инвестициони план </a:t>
            </a:r>
            <a:r>
              <a:rPr lang="sr-Cyrl-RS" sz="2400" dirty="0" smtClean="0"/>
              <a:t>до 202</a:t>
            </a:r>
            <a:r>
              <a:rPr lang="sr-Latn-RS" sz="2400" dirty="0" smtClean="0"/>
              <a:t>7</a:t>
            </a:r>
            <a:r>
              <a:rPr lang="sr-Cyrl-RS" sz="2400" dirty="0" smtClean="0"/>
              <a:t>. </a:t>
            </a:r>
            <a:r>
              <a:rPr lang="sr-Latn-RS" sz="2400" dirty="0" smtClean="0"/>
              <a:t>(20</a:t>
            </a:r>
            <a:r>
              <a:rPr lang="sr-Cyrl-RS" sz="2400" dirty="0" smtClean="0"/>
              <a:t>19</a:t>
            </a:r>
            <a:r>
              <a:rPr lang="sr-Latn-RS" sz="2400" dirty="0" smtClean="0"/>
              <a:t>-2027)</a:t>
            </a:r>
            <a:endParaRPr lang="en-US" sz="2215" dirty="0"/>
          </a:p>
        </p:txBody>
      </p:sp>
      <p:sp>
        <p:nvSpPr>
          <p:cNvPr id="67" name="TextBox 66"/>
          <p:cNvSpPr txBox="1"/>
          <p:nvPr/>
        </p:nvSpPr>
        <p:spPr>
          <a:xfrm>
            <a:off x="317989" y="1202826"/>
            <a:ext cx="8707429" cy="1978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108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угорочним планом рада и развоја инвестиционе активности су првенствено усмерене на: </a:t>
            </a:r>
          </a:p>
          <a:p>
            <a:pPr marL="328254" marR="0" lvl="2" indent="-252052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гурност снабдевања, квалитетно и поуздано снабдевање тарифних и комерцијалних купаца ЕПС-а</a:t>
            </a:r>
            <a:endParaRPr kumimoji="0" lang="sr-Latn-RS" sz="1477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довољење еколошких захтева </a:t>
            </a:r>
          </a:p>
          <a:p>
            <a:pPr marL="328254" marR="0" lvl="2" indent="-252052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мену, реконструкцију  и модернизацију постојеће опреме и објеката</a:t>
            </a: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постављање стабилне економске и финансијске одрживости</a:t>
            </a: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љи развој и улагања у нове објекте </a:t>
            </a:r>
            <a:endParaRPr kumimoji="0" lang="sr-Latn-RS" sz="1477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475585" y="2647076"/>
            <a:ext cx="2111517" cy="310833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 marL="0" marR="0" lvl="0" indent="0" algn="l" defTabSz="914400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92190" algn="l"/>
              </a:tabLst>
              <a:defRPr/>
            </a:pPr>
            <a:endParaRPr kumimoji="0" lang="sr-Cyrl-RS" sz="646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8859" y="5407304"/>
            <a:ext cx="7713704" cy="34810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662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КУПНО предвиђена инвестициона улагања – око 4,</a:t>
            </a:r>
            <a:r>
              <a:rPr kumimoji="0" lang="sr-Latn-RS" sz="1662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sr-Cyrl-RS" sz="1662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лрд €</a:t>
            </a:r>
            <a:endParaRPr kumimoji="0" lang="en-US" sz="1662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7989" y="3761345"/>
            <a:ext cx="8707429" cy="1382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ударство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		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1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лрд ЕУР</a:t>
            </a:r>
            <a:endParaRPr kumimoji="0" lang="sr-Latn-RS" sz="1477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 - ревитализације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ЖС и нови пројекти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1,6 млрд ЕУР</a:t>
            </a:r>
            <a:endParaRPr kumimoji="0" lang="sr-Latn-RS" sz="1477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Е и 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 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ревитализације и нови пројекти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лрд ЕУР</a:t>
            </a:r>
            <a:endParaRPr kumimoji="0" lang="sr-Latn-RS" sz="1477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28254" marR="0" lvl="2" indent="-252052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 typeface="Courier New" pitchFamily="49" charset="0"/>
              <a:buChar char="o"/>
              <a:tabLst/>
              <a:defRPr/>
            </a:pP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стрибутивни и корпоративни пројекти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sr-Latn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r-Cyrl-RS" sz="147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 ЕУР</a:t>
            </a:r>
          </a:p>
          <a:p>
            <a:pPr marL="76202" marR="0" lvl="2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77"/>
              </a:spcAft>
              <a:buClr>
                <a:srgbClr val="C00000"/>
              </a:buClr>
              <a:buSzPct val="100000"/>
              <a:buFontTx/>
              <a:buNone/>
              <a:tabLst/>
              <a:defRPr/>
            </a:pPr>
            <a:endParaRPr kumimoji="0" lang="sr-Latn-RS" sz="1477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615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164893"/>
              </p:ext>
            </p:extLst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sr-Cyrl-RS" sz="2215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5392"/>
            <a:ext cx="7664898" cy="731159"/>
          </a:xfrm>
        </p:spPr>
        <p:txBody>
          <a:bodyPr anchor="ctr"/>
          <a:lstStyle/>
          <a:p>
            <a:pPr eaLnBrk="0" fontAlgn="base" hangingPunct="0">
              <a:spcAft>
                <a:spcPct val="0"/>
              </a:spcAft>
            </a:pPr>
            <a:r>
              <a:rPr lang="sr-Cyrl-RS" sz="2215" dirty="0"/>
              <a:t>Инвестициони план </a:t>
            </a:r>
            <a:r>
              <a:rPr lang="sr-Cyrl-RS" sz="2215" dirty="0" smtClean="0"/>
              <a:t>до 2027. </a:t>
            </a:r>
            <a:endParaRPr lang="en-US" sz="2215" dirty="0"/>
          </a:p>
        </p:txBody>
      </p:sp>
      <p:sp>
        <p:nvSpPr>
          <p:cNvPr id="18" name="ColumnHeader"/>
          <p:cNvSpPr>
            <a:spLocks noChangeArrowheads="1"/>
          </p:cNvSpPr>
          <p:nvPr/>
        </p:nvSpPr>
        <p:spPr bwMode="gray">
          <a:xfrm>
            <a:off x="320477" y="1678723"/>
            <a:ext cx="1861581" cy="2565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23006" tIns="58435" rIns="23006" bIns="58435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ударство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ColumnHeader"/>
          <p:cNvSpPr>
            <a:spLocks noChangeArrowheads="1"/>
          </p:cNvSpPr>
          <p:nvPr/>
        </p:nvSpPr>
        <p:spPr bwMode="gray">
          <a:xfrm>
            <a:off x="2447484" y="1539274"/>
            <a:ext cx="2078935" cy="3950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23006" tIns="58435" rIns="23006" bIns="58435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витализације ТЕ</a:t>
            </a:r>
            <a:r>
              <a:rPr kumimoji="0" lang="sr-Latn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колошки и нови пројекти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ColumnHeader"/>
          <p:cNvSpPr>
            <a:spLocks noChangeArrowheads="1"/>
          </p:cNvSpPr>
          <p:nvPr/>
        </p:nvSpPr>
        <p:spPr bwMode="gray">
          <a:xfrm>
            <a:off x="4773089" y="1539274"/>
            <a:ext cx="1658060" cy="3950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23006" tIns="58435" rIns="23006" bIns="58435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ХЕ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sr-Latn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</a:t>
            </a: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</a:t>
            </a:r>
            <a:r>
              <a:rPr kumimoji="0" lang="sr-Latn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sr-Cyrl-R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витализације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ColumnHeader"/>
          <p:cNvSpPr>
            <a:spLocks noChangeArrowheads="1"/>
          </p:cNvSpPr>
          <p:nvPr/>
        </p:nvSpPr>
        <p:spPr bwMode="gray">
          <a:xfrm>
            <a:off x="6692906" y="1539274"/>
            <a:ext cx="1609900" cy="3950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23006" tIns="58435" rIns="23006" bIns="58435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истрибутивни и корпоративни пројекти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ColumnContent"/>
          <p:cNvSpPr>
            <a:spLocks noChangeArrowheads="1"/>
          </p:cNvSpPr>
          <p:nvPr/>
        </p:nvSpPr>
        <p:spPr bwMode="gray">
          <a:xfrm>
            <a:off x="342647" y="1928279"/>
            <a:ext cx="2111517" cy="310833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+mn-cs"/>
              </a:rPr>
              <a:t>Костолац/Дрмно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водњавање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сновна опрем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VI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БТО систем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Експропријациј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екултивациј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омоћна механизациј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Археолошки и геолошко истраживачки радови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атварање ПК Ћириковац и Кленовник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лубара</a:t>
            </a:r>
            <a:endParaRPr kumimoji="0" lang="sr-Latn-ME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одужење века, реконструкција рудника угљ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есељење насеља Вреоци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Д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“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Тамнава исток“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амнава запад“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Б/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Ц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“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аменски и нови капацитети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Г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“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“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К поље „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адљево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“  </a:t>
            </a: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ерад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Метал </a:t>
            </a: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аштита животне средине 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90" algn="l"/>
              </a:tabLst>
              <a:defRPr/>
            </a:pPr>
            <a:endParaRPr kumimoji="0" lang="sr-Cyrl-RS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3" name="TextColumnContent"/>
          <p:cNvSpPr>
            <a:spLocks noChangeArrowheads="1"/>
          </p:cNvSpPr>
          <p:nvPr/>
        </p:nvSpPr>
        <p:spPr bwMode="gray">
          <a:xfrm>
            <a:off x="2536295" y="1934284"/>
            <a:ext cx="2074127" cy="293392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 marL="111195" marR="0" lvl="0" indent="-1111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евитализације и капитални ремонти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НТ 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НТ Б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 Костолац А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 Костолац Б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 Морав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Нови капацитет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столац Б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3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111195" marR="0" lvl="0" indent="-11119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Животна средина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Уклањање ПЦБ уља из свих постројењ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E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Н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 A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лагање пепела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ерада отпадних вода</a:t>
            </a: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НТ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A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Г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ТЕНТ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A4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и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A6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денитрификациј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E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Морав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уградња ЕФ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E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НТ Б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1-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Б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2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Г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денитрификациј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ерада отпадних вод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столац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A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лагање пепел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атварање депоније пепела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столац Б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1-2: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ДГ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денитрификациј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ерада отпадних вод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2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+mn-cs"/>
            </a:endParaRPr>
          </a:p>
        </p:txBody>
      </p:sp>
      <p:sp>
        <p:nvSpPr>
          <p:cNvPr id="24" name="TextColumnContent"/>
          <p:cNvSpPr>
            <a:spLocks noChangeArrowheads="1"/>
          </p:cNvSpPr>
          <p:nvPr/>
        </p:nvSpPr>
        <p:spPr bwMode="gray">
          <a:xfrm>
            <a:off x="4773090" y="1934284"/>
            <a:ext cx="1919817" cy="293392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+mn-cs"/>
              </a:rPr>
              <a:t>Ревитализације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Ђердап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I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Ђердап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I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иобаље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ирот (са топлодолским тунелом)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Власинске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Ђердап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II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Ђердап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II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риобаље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ворник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(A1-A4)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ХЕ Б, Башт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(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1,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Р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2)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Бистриц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(A1-A2)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Мале Х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+mn-cs"/>
              </a:rPr>
              <a:t>Проширење капацитета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отпећ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4.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агрегат</a:t>
            </a:r>
            <a:endParaRPr kumimoji="0" lang="sr-Latn-R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109572" marR="0" lvl="0" indent="-10957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Tx/>
              <a:buNone/>
              <a:tabLst>
                <a:tab pos="292190" algn="l"/>
              </a:tabLst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+mn-cs"/>
              </a:rPr>
              <a:t>Нови капацитети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M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Х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-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ЕПС сопствена изградња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ПС ветар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и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солар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–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столац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25" name="TextColumnContent"/>
          <p:cNvSpPr>
            <a:spLocks noChangeArrowheads="1"/>
          </p:cNvSpPr>
          <p:nvPr/>
        </p:nvSpPr>
        <p:spPr bwMode="gray">
          <a:xfrm>
            <a:off x="6724806" y="1941240"/>
            <a:ext cx="2134294" cy="319422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6012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+mn-cs"/>
              </a:rPr>
              <a:t>Дистрибуција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Изградња нових и реконструкција, проширење и аутоматизација постојећих ЕЕО 110 kV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Изградња нових и реконструкција, проширење и аутоматизација постојећих ЕЕО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35 kV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Изградња нових, реконструкција,проширење и аутоматизација постојећих ЕЕО 10 (20) kV и  ниски напон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Даљинско мерење и управљање потрошњом електричне енергије и планско преузимање мерних уређаја и прикључака код постојећих купаца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Остале инвестиције у опрему,  ИТ, ТК и ЗЖС  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ЕПС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metering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+mn-cs"/>
              </a:rPr>
              <a:t> </a:t>
            </a:r>
            <a:r>
              <a:rPr kumimoji="0" lang="sr-Cyrl-RS" sz="9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Корпоративни пројекти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RP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систем (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SAP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)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Билинг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(CIS/CRM) </a:t>
            </a: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за ОДС и ЕПС Снабдевање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ETRM + EDM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Модернизација управљања и контроле производње угља и ел,енергије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Систем корпоративне безбедности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TIS/GIS системи у дистрибуцији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  <a:p>
            <a:pPr marL="219142" marR="0" lvl="0" indent="-21914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90" algn="l"/>
              </a:tabLst>
              <a:defRPr/>
            </a:pPr>
            <a:r>
              <a:rPr kumimoji="0" lang="sr-Cyrl-R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+mn-cs"/>
              </a:rPr>
              <a:t>Дата центар ЕПС-а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Times New Roman" panose="020206030504050203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9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4497256"/>
              </p:ext>
            </p:extLst>
          </p:nvPr>
        </p:nvGraphicFramePr>
        <p:xfrm>
          <a:off x="353047" y="508604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2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353047" y="508604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351692" y="507248"/>
            <a:ext cx="135266" cy="13526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en-US" sz="852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132388" y="1585913"/>
            <a:ext cx="1531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098801" y="1219200"/>
            <a:ext cx="1331913" cy="367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894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нутна ситуација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894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sr-Cyrl-RS" sz="89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</a:t>
            </a:r>
            <a:r>
              <a:rPr kumimoji="0" lang="en-US" sz="89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sr-Cyrl-RS" sz="894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година)</a:t>
            </a:r>
            <a:endParaRPr kumimoji="0" lang="en-US" sz="894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925763" y="1585913"/>
            <a:ext cx="153171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262563" y="1219200"/>
            <a:ext cx="1114425" cy="3675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894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ње у Србији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894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sr-Cyrl-RS" sz="894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7. </a:t>
            </a:r>
            <a:r>
              <a:rPr kumimoji="0" lang="sr-Cyrl-RS" sz="894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дине)</a:t>
            </a:r>
            <a:endParaRPr kumimoji="0" lang="en-US" sz="894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>
            <p:custDataLst>
              <p:tags r:id="rId4"/>
            </p:custDataLst>
          </p:nvPr>
        </p:nvCxnSpPr>
        <p:spPr bwMode="auto">
          <a:xfrm flipV="1">
            <a:off x="3452813" y="2162175"/>
            <a:ext cx="374650" cy="2122488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auto">
          <a:xfrm flipV="1">
            <a:off x="3452813" y="3952875"/>
            <a:ext cx="374650" cy="649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 flipV="1">
            <a:off x="3452813" y="3970339"/>
            <a:ext cx="374650" cy="658813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7"/>
            </p:custDataLst>
          </p:nvPr>
        </p:nvCxnSpPr>
        <p:spPr bwMode="auto">
          <a:xfrm flipV="1">
            <a:off x="3452813" y="4840288"/>
            <a:ext cx="374650" cy="20638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8" name="Chart 67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9553715"/>
              </p:ext>
            </p:extLst>
          </p:nvPr>
        </p:nvGraphicFramePr>
        <p:xfrm>
          <a:off x="2713038" y="2079625"/>
          <a:ext cx="1852612" cy="289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67050" y="4378325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C66A724-0E25-48C0-AC9D-E417FA0B873B}" type="datetime'4''''''''''''''''''''.''''''''''''''''''''''''''0''''7''9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.079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879850" y="4340225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2E8E0F3-ABC1-44EA-BF45-C11B41FF1135}" type="datetime'''''''1''1.''''''''''''''''''''15''''''''3''''''''''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.153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11500" y="4549775"/>
            <a:ext cx="212725" cy="1301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1A56FA-7870-4C23-89D8-B71F48244B2F}" type="datetime'''''''''''''''''''''''''''''''''''3''''''''''''''36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36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954463" y="3895725"/>
            <a:ext cx="212725" cy="1301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F03BCA-8C04-4111-965F-950BB18DC3A5}" type="datetime'''2''''''3''''''''''''8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 panose="020B0604020202020204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38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954463" y="4799013"/>
            <a:ext cx="212725" cy="130175"/>
          </a:xfrm>
          <a:prstGeom prst="rect">
            <a:avLst/>
          </a:prstGeom>
          <a:solidFill>
            <a:srgbClr val="0077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CE4B656-9CF0-4098-86A1-CB33B36134F0}" type="datetime'''6''''''''''''0''''''''''''''''''''''''''5''''''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5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79850" y="2992438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939675A-4C2B-48A8-A07F-A77EA4C7D610}" type="datetime'2''''2''.''''''9''''''''''''''5''''''''''''''''''''''''4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2.954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16263" y="4975225"/>
            <a:ext cx="2047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244D053-8395-449B-8C9F-0C1A423B871A}" type="datetime'''''''''''''''M''''''''''''''''''''''''''''W'''''''''''''''''">
              <a:rPr kumimoji="0" lang="en-US" altLang="en-US" sz="852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W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67050" y="4679950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E312F05-007C-4F27-A9A5-F19D7D4F6314}" type="datetime'''''''''''''''2''''.''9''''''''8''''''6''''''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.986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11500" y="4808538"/>
            <a:ext cx="212725" cy="130175"/>
          </a:xfrm>
          <a:prstGeom prst="rect">
            <a:avLst/>
          </a:prstGeom>
          <a:solidFill>
            <a:srgbClr val="0077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7303DB5-75D3-4991-B18B-BB2A3A54F6B7}" type="datetime'''''''''''''''''''''''''3''''''4''''0''''''''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0</a:t>
            </a:fld>
            <a:endParaRPr kumimoji="0" lang="en-US" altLang="en-US" sz="852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29063" y="4975225"/>
            <a:ext cx="2651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0B4606-F02F-4E91-AAF0-8CA4DD30DF15}" type="datetime'''GW''''''''''''''h'''''''''''''''''">
              <a:rPr kumimoji="0" lang="en-US" altLang="en-US" sz="852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Wh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67050" y="4129088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b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4223FB4-4245-49B3-A465-A8C9B9070F49}" type="datetime'''''''7''.''''''''''74''''''''''''''''''''''''''1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.741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879850" y="2006600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b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F16819-F9D7-40F8-A490-98CEBC6ABF4C}" type="datetime'3''''''''4''.9''''5''''0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.950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cxnSp>
        <p:nvCxnSpPr>
          <p:cNvPr id="17" name="Straight Connector 16"/>
          <p:cNvCxnSpPr/>
          <p:nvPr>
            <p:custDataLst>
              <p:tags r:id="rId21"/>
            </p:custDataLst>
          </p:nvPr>
        </p:nvCxnSpPr>
        <p:spPr bwMode="auto">
          <a:xfrm flipV="1">
            <a:off x="5611813" y="3567113"/>
            <a:ext cx="374650" cy="930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22"/>
            </p:custDataLst>
          </p:nvPr>
        </p:nvCxnSpPr>
        <p:spPr bwMode="auto">
          <a:xfrm flipV="1">
            <a:off x="5611812" y="4445000"/>
            <a:ext cx="374650" cy="2952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23"/>
            </p:custDataLst>
          </p:nvPr>
        </p:nvCxnSpPr>
        <p:spPr bwMode="auto">
          <a:xfrm flipV="1">
            <a:off x="5611813" y="1838324"/>
            <a:ext cx="374650" cy="2376488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24"/>
            </p:custDataLst>
          </p:nvPr>
        </p:nvCxnSpPr>
        <p:spPr bwMode="auto">
          <a:xfrm flipV="1">
            <a:off x="5611812" y="3649663"/>
            <a:ext cx="374650" cy="874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5" name="Chart 74"/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09301538"/>
              </p:ext>
            </p:extLst>
          </p:nvPr>
        </p:nvGraphicFramePr>
        <p:xfrm>
          <a:off x="4872038" y="1755775"/>
          <a:ext cx="1852612" cy="321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26050" y="4291013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CB4A08E5-BF73-4663-B045-B07C430E07B8}" type="datetime'''''''4''''.''''''0''''''''''''''''''''''''80'''''''''''">
              <a:rPr lang="en-US" altLang="en-US" sz="852" b="1" smtClean="0">
                <a:solidFill>
                  <a:srgbClr val="1F497D"/>
                </a:solidFill>
              </a:rPr>
              <a:pPr marL="0" lvl="0" indent="0" algn="ctr">
                <a:spcBef>
                  <a:spcPct val="0"/>
                </a:spcBef>
                <a:buNone/>
              </a:pPr>
              <a:t>4.08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75263" y="4924425"/>
            <a:ext cx="20478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C006B9-B8B3-4387-B209-A736CF54F067}" type="datetime'''''M''''''''''''W'''">
              <a:rPr kumimoji="0" lang="en-US" altLang="en-US" sz="852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W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038850" y="3981450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  <a:defRPr/>
            </a:pPr>
            <a:fld id="{B895D574-7635-4C8A-A0F0-56C5EC100F52}" type="datetime'''1''''''''1''''.''''''''''''''''''''''5''''0''''''''0'''''''">
              <a:rPr lang="en-US" altLang="en-US" sz="852" b="1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buNone/>
                <a:defRPr/>
              </a:pPr>
              <a:t>11.50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70501" y="4445000"/>
            <a:ext cx="212725" cy="1301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6437323-69C9-421F-A9DD-1D9EF06F5854}" type="datetime'4''''''1''''''''''''''''''''''''''''''''''0'''''''''">
              <a:rPr lang="en-US" altLang="en-US" sz="852" b="1" smtClean="0">
                <a:solidFill>
                  <a:srgbClr val="FFFFFF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410</a:t>
            </a:fld>
            <a:endParaRPr lang="en-US" altLang="en-US" sz="852" b="1" dirty="0" smtClean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26050" y="4567238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  <a:defRPr/>
            </a:pPr>
            <a:fld id="{26F08449-7C07-470E-ACE4-37C9C1461B1E}" type="datetime'''''''''''''''''3.''1''''''''''''''''''0''''0'''''''''''''">
              <a:rPr lang="en-US" altLang="en-US" sz="852" b="1" smtClean="0">
                <a:solidFill>
                  <a:srgbClr val="FFFFFF"/>
                </a:solidFill>
              </a:rPr>
              <a:pPr marL="0" lvl="0" indent="0" algn="ctr">
                <a:spcBef>
                  <a:spcPct val="0"/>
                </a:spcBef>
                <a:buNone/>
                <a:defRPr/>
              </a:pPr>
              <a:t>3.10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226050" y="4748213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777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8739ED-E2AE-4382-B12C-653584AED77F}" type="datetime'''''''2''''''''''''.''''''''''''''''''''''''''''''''''150''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.150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069013" y="3543300"/>
            <a:ext cx="303213" cy="1301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69F3BB7-0FB4-403F-9936-11C83FCB6544}" type="datetime'''1''''.''''''''''''''''2''0''''0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200</a:t>
            </a:fld>
            <a:endParaRPr kumimoji="0" lang="en-US" altLang="en-US" sz="852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26050" y="4059238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b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F98C9897-24FD-497A-9ACD-EC7DAF6019FF}" type="datetime'9''''''''''''''.7''''''''''''''''''''''4''''''''''''0'''">
              <a:rPr lang="en-US" altLang="en-US" sz="852" b="1" smtClean="0">
                <a:solidFill>
                  <a:srgbClr val="1F497D"/>
                </a:solidFill>
              </a:rPr>
              <a:pPr marL="0" lvl="0" indent="0" algn="ctr">
                <a:spcBef>
                  <a:spcPct val="0"/>
                </a:spcBef>
                <a:buNone/>
              </a:pPr>
              <a:t>9.74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069013" y="4600575"/>
            <a:ext cx="3032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898" indent="-3428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46" indent="-28574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93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91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88" indent="-22859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85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8" algn="l" defTabSz="91439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3C86E0-1BFC-4692-92B6-713420DBF167}" type="datetime'''''6''''''''.''''4''''''''''''''''''0''''''''''''''0'''">
              <a:rPr kumimoji="0" lang="en-US" altLang="en-US" sz="852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.400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038850" y="2636838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8FE97D4A-95BB-47B6-A5A4-4D6D76131A26}" type="datetime'2''5''''''''''''.''00''''''''''''''''''0'''''''''''''">
              <a:rPr lang="en-US" altLang="en-US" sz="852" b="1" smtClean="0">
                <a:solidFill>
                  <a:srgbClr val="1F497D"/>
                </a:solidFill>
              </a:rPr>
              <a:pPr marL="0" lvl="0" indent="0" algn="ctr">
                <a:spcBef>
                  <a:spcPct val="0"/>
                </a:spcBef>
                <a:buNone/>
              </a:pPr>
              <a:t>25.00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088063" y="4924425"/>
            <a:ext cx="265113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F7E1F6D-D892-4CE5-8607-22D81F8C494D}" type="datetime'''G''''''W''''''h'''''''''''''''''''''''''''''''''">
              <a:rPr kumimoji="0" lang="en-US" altLang="en-US" sz="852" b="1" i="0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Wh</a:t>
            </a:fld>
            <a:endParaRPr kumimoji="0" lang="en-US" altLang="en-US" sz="852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38850" y="1682750"/>
            <a:ext cx="363538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6120" tIns="0" rIns="16120" bIns="0" numCol="1" spcCol="0" anchor="b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None/>
            </a:pPr>
            <a:fld id="{920E1B76-65E2-4D49-A43C-A469776FBFD4}" type="datetime'''''''''''''''''''''''4''''4''''''''''''''''''''.1''''0''0'">
              <a:rPr lang="en-US" altLang="en-US" sz="852" b="1" smtClean="0">
                <a:solidFill>
                  <a:srgbClr val="1F497D"/>
                </a:solidFill>
              </a:rPr>
              <a:pPr marL="0" lvl="0" indent="0" algn="ctr">
                <a:spcBef>
                  <a:spcPct val="0"/>
                </a:spcBef>
                <a:buNone/>
              </a:pPr>
              <a:t>44.100</a:t>
            </a:fld>
            <a:endParaRPr kumimoji="0" lang="en-US" altLang="en-US" sz="852" b="1" i="0" strike="noStrike" kern="1200" spc="0" normalizeH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1565560" y="5721559"/>
            <a:ext cx="6258305" cy="429491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023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лектране на фосилна горива остају главни носилац производње и у наредном периоду, уз повећање учешћа обновљивих извора енергије.</a:t>
            </a:r>
            <a:endParaRPr kumimoji="0" lang="en-US" sz="1023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Title 1"/>
          <p:cNvSpPr txBox="1">
            <a:spLocks/>
          </p:cNvSpPr>
          <p:nvPr/>
        </p:nvSpPr>
        <p:spPr bwMode="auto">
          <a:xfrm>
            <a:off x="-975" y="72000"/>
            <a:ext cx="8640000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Пројекција производног</a:t>
            </a:r>
            <a:r>
              <a:rPr kumimoji="0" lang="sr-Cyrl-RS" altLang="en-US" sz="2400" b="0" i="0" u="none" strike="noStrike" kern="1200" cap="none" spc="0" normalizeH="0" noProof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микса</a:t>
            </a:r>
            <a:r>
              <a:rPr kumimoji="0" lang="sr-Cyrl-RS" altLang="en-US" sz="2400" b="0" i="0" u="none" strike="noStrike" kern="1200" cap="none" spc="0" normalizeH="0" baseline="0" noProof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Cyrl-RS" altLang="en-US" sz="24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Rectangle 6"/>
          <p:cNvSpPr/>
          <p:nvPr>
            <p:custDataLst>
              <p:tags r:id="rId38"/>
            </p:custDataLst>
          </p:nvPr>
        </p:nvSpPr>
        <p:spPr bwMode="auto">
          <a:xfrm>
            <a:off x="4054475" y="5183188"/>
            <a:ext cx="160338" cy="120650"/>
          </a:xfrm>
          <a:prstGeom prst="rect">
            <a:avLst/>
          </a:prstGeom>
          <a:solidFill>
            <a:srgbClr val="C0C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>
            <p:custDataLst>
              <p:tags r:id="rId39"/>
            </p:custDataLst>
          </p:nvPr>
        </p:nvSpPr>
        <p:spPr bwMode="auto">
          <a:xfrm>
            <a:off x="4054475" y="5370513"/>
            <a:ext cx="160338" cy="1206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40"/>
            </p:custDataLst>
          </p:nvPr>
        </p:nvSpPr>
        <p:spPr bwMode="auto">
          <a:xfrm>
            <a:off x="5080000" y="5183188"/>
            <a:ext cx="160338" cy="120650"/>
          </a:xfrm>
          <a:prstGeom prst="rect">
            <a:avLst/>
          </a:prstGeom>
          <a:solidFill>
            <a:srgbClr val="1F497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>
            <p:custDataLst>
              <p:tags r:id="rId41"/>
            </p:custDataLst>
          </p:nvPr>
        </p:nvSpPr>
        <p:spPr bwMode="auto">
          <a:xfrm>
            <a:off x="5080000" y="5370513"/>
            <a:ext cx="160338" cy="120650"/>
          </a:xfrm>
          <a:prstGeom prst="rect">
            <a:avLst/>
          </a:prstGeom>
          <a:solidFill>
            <a:srgbClr val="00777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265612" y="5367338"/>
            <a:ext cx="7127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20F84B-17A1-463B-9D86-2F1DAE9ECE3B}" type="datetime'''''''Т''Е''-''Т''О ''''''''''''''''''''на'''''''''' ''га''с'">
              <a:rPr kumimoji="0" lang="sr-Cyrl-RS" altLang="en-US" sz="900" b="1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sym typeface="Arial" panose="020B0604020202020204" pitchFamily="34" charset="0"/>
              </a:rPr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ТЕ-ТО на гас</a:t>
            </a:fld>
            <a:endParaRPr kumimoji="0" lang="en-US" altLang="en-US" sz="900" b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265613" y="5180013"/>
            <a:ext cx="6270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150C3FA-7D48-42FD-A729-81D0E488B089}" type="datetime'Т''Е'''' ''н''''а'''''''''''''''''' ''''у''гаљ'''''''''">
              <a:rPr kumimoji="0" lang="sr-Cyrl-RS" alt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ТЕ на угаљ</a:t>
            </a:fld>
            <a:endParaRPr kumimoji="0" lang="en-US" altLang="en-US" sz="9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291137" y="5367338"/>
            <a:ext cx="2476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730FC22-14D4-4A5B-8528-AE1B44115FCB}" type="datetime'''''''''''''''О''''ИЕ'''">
              <a:rPr kumimoji="0" lang="sr-Cyrl-RS" altLang="en-US" sz="900" b="1" u="none" strike="noStrike" kern="120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sym typeface="Arial" panose="020B0604020202020204" pitchFamily="34" charset="0"/>
              </a:rPr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ОИЕ</a:t>
            </a:fld>
            <a:endParaRPr kumimoji="0" lang="en-US" altLang="en-US" sz="900" b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291137" y="5180013"/>
            <a:ext cx="152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6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7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517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904427E-F9E3-44F5-A98F-B0A9538E9D12}" type="datetime'''''''Х''''Е'''''''''''''''''''''''''''''''''">
              <a:rPr kumimoji="0" lang="en-US" altLang="en-US" sz="900" b="1" u="none" strike="noStrike" kern="120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sym typeface="Arial" panose="020B0604020202020204" pitchFamily="34" charset="0"/>
              </a:rPr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ХЕ</a:t>
            </a:fld>
            <a:endParaRPr kumimoji="0" lang="en-US" altLang="en-US" sz="900" b="1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93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7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3563" y="1071473"/>
            <a:ext cx="86670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endParaRPr lang="en-GB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лизовани инвестициони</a:t>
            </a:r>
            <a:r>
              <a:rPr kumimoji="0" lang="sr-Cyrl-RS" sz="1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r-Cyrl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јекти из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ласт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штите животн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един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период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2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</a:t>
            </a:r>
            <a:r>
              <a: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дин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вредност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д </a:t>
            </a:r>
            <a:r>
              <a: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5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sr-Latn-R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илиона евр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65700" y="72000"/>
            <a:ext cx="8964000" cy="792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sz="2215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еализовани инвестициони пројекти ЈП ЕПС-а у области ЗЖС </a:t>
            </a:r>
            <a:endParaRPr kumimoji="0" lang="en-US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2091203"/>
              </p:ext>
            </p:extLst>
          </p:nvPr>
        </p:nvGraphicFramePr>
        <p:xfrm>
          <a:off x="203563" y="2494947"/>
          <a:ext cx="8460701" cy="2358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707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5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41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456">
                <a:tc>
                  <a:txBody>
                    <a:bodyPr/>
                    <a:lstStyle/>
                    <a:p>
                      <a:pPr marL="0" algn="l" defTabSz="844083" rtl="0" eaLnBrk="1" latinLnBrk="0" hangingPunct="1"/>
                      <a:r>
                        <a:rPr lang="sr-Cyrl-RS" sz="1200" b="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и</a:t>
                      </a:r>
                      <a:r>
                        <a:rPr lang="sr-Cyrl-RS" sz="1200" b="0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пројекти</a:t>
                      </a:r>
                      <a:endParaRPr lang="en-US" sz="12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b="0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ериод</a:t>
                      </a:r>
                      <a:endParaRPr lang="en-US" sz="1200" b="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Cyrl-RS" sz="1200" b="0" dirty="0" smtClean="0"/>
                        <a:t>Средства</a:t>
                      </a:r>
                      <a:r>
                        <a:rPr lang="sr-Cyrl-RS" sz="1200" b="0" baseline="0" dirty="0" smtClean="0"/>
                        <a:t> у мил.€</a:t>
                      </a:r>
                      <a:endParaRPr lang="en-US" sz="1200" b="0" dirty="0"/>
                    </a:p>
                  </a:txBody>
                  <a:tcPr>
                    <a:solidFill>
                      <a:schemeClr val="accent4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442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02060"/>
                          </a:solidFill>
                        </a:rPr>
                        <a:t>Реконструкција или замена постојећих електрофилтера на блоковима Т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</a:rPr>
                        <a:t>2002-201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200" dirty="0" smtClean="0">
                          <a:solidFill>
                            <a:srgbClr val="002060"/>
                          </a:solidFill>
                        </a:rPr>
                        <a:t>9</a:t>
                      </a:r>
                      <a:r>
                        <a:rPr lang="sr-Cyrl-RS" sz="1200" dirty="0" smtClean="0">
                          <a:solidFill>
                            <a:srgbClr val="002060"/>
                          </a:solidFill>
                        </a:rPr>
                        <a:t>7,2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506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имарне мере за смањење емисија </a:t>
                      </a:r>
                      <a:r>
                        <a:rPr lang="en-U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  <a:r>
                        <a:rPr lang="en-US" sz="1200" kern="1200" baseline="-250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x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из блокова ТЕ</a:t>
                      </a:r>
                      <a:endParaRPr lang="en-US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12-201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en-GB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,9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119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дсумпоравање димних гасова на блоковима ТЕ (ОДГ)</a:t>
                      </a:r>
                      <a:endParaRPr lang="en-US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14-201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en-GB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GB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3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052">
                <a:tc>
                  <a:txBody>
                    <a:bodyPr/>
                    <a:lstStyle/>
                    <a:p>
                      <a:pPr marL="0" marR="0" lvl="0" indent="0" algn="l" defTabSz="84408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конструкција система за транспорт и одлагање пепела и шљаке</a:t>
                      </a:r>
                      <a:endParaRPr lang="en-US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06-201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02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6</a:t>
                      </a:r>
                      <a:endParaRPr lang="en-GB" sz="1200" kern="120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487">
                <a:tc>
                  <a:txBody>
                    <a:bodyPr/>
                    <a:lstStyle/>
                    <a:p>
                      <a:pPr marL="0" marR="0" lvl="0" indent="0" algn="l" defTabSz="84408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Cyrl-R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зградња постројења за пречишћавање отпадних вода</a:t>
                      </a:r>
                      <a:endParaRPr lang="en-US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16-2018.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0,4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2487">
                <a:tc>
                  <a:txBody>
                    <a:bodyPr/>
                    <a:lstStyle/>
                    <a:p>
                      <a:pPr marL="0" marR="0" lvl="0" indent="0" algn="l" defTabSz="84408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стали пројекти </a:t>
                      </a:r>
                      <a:endParaRPr lang="en-US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06-201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en-GB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GB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258276"/>
                  </a:ext>
                </a:extLst>
              </a:tr>
              <a:tr h="302487">
                <a:tc>
                  <a:txBody>
                    <a:bodyPr/>
                    <a:lstStyle/>
                    <a:p>
                      <a:pPr marL="0" marR="0" lvl="0" indent="0" algn="l" defTabSz="844083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400" dirty="0" smtClean="0">
                          <a:solidFill>
                            <a:srgbClr val="002060"/>
                          </a:solidFill>
                        </a:rPr>
                        <a:t>Укупно</a:t>
                      </a:r>
                      <a:endParaRPr lang="en-US" sz="14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844083" rtl="0" eaLnBrk="1" latinLnBrk="0" hangingPunct="1"/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sr-Latn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sr-Cyrl-RS" sz="12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en-US" sz="12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027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38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/>
          </p:nvPr>
        </p:nvGraphicFramePr>
        <p:xfrm>
          <a:off x="-1669" y="2033206"/>
          <a:ext cx="8755536" cy="3637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-113122" y="1922620"/>
            <a:ext cx="9257122" cy="3696191"/>
            <a:chOff x="-113122" y="1922620"/>
            <a:chExt cx="9257122" cy="3696191"/>
          </a:xfrm>
        </p:grpSpPr>
        <p:graphicFrame>
          <p:nvGraphicFramePr>
            <p:cNvPr id="19" name="Chart 18"/>
            <p:cNvGraphicFramePr>
              <a:graphicFrameLocks/>
            </p:cNvGraphicFramePr>
            <p:nvPr>
              <p:extLst/>
            </p:nvPr>
          </p:nvGraphicFramePr>
          <p:xfrm>
            <a:off x="-113122" y="1922620"/>
            <a:ext cx="9257122" cy="34421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26" name="TextBox 25"/>
            <p:cNvSpPr txBox="1"/>
            <p:nvPr/>
          </p:nvSpPr>
          <p:spPr bwMode="auto">
            <a:xfrm>
              <a:off x="4962190" y="5372590"/>
              <a:ext cx="142003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ашкасте материје</a:t>
              </a:r>
              <a:endParaRPr kumimoji="0" lang="sr-Latn-R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872533" y="5469139"/>
              <a:ext cx="72000" cy="48592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r-Latn-R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3" name="Rectangle 32"/>
          <p:cNvSpPr/>
          <p:nvPr/>
        </p:nvSpPr>
        <p:spPr>
          <a:xfrm>
            <a:off x="1206134" y="1544042"/>
            <a:ext cx="7364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kumimoji="0" lang="sr-Cyrl-RS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шкасте материје - емисија и инвестиције у електрофилтере ТЕ на угаљ ЈП ЕПС-а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 bwMode="auto">
          <a:xfrm>
            <a:off x="0" y="91000"/>
            <a:ext cx="9310344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 прашкастих материја и инвестиције у електрофилтере</a:t>
            </a:r>
            <a:r>
              <a:rPr kumimoji="0" lang="sr-Latn-RS" alt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</a:p>
        </p:txBody>
      </p:sp>
      <p:sp>
        <p:nvSpPr>
          <p:cNvPr id="17" name="TextBox 16"/>
          <p:cNvSpPr txBox="1"/>
          <p:nvPr/>
        </p:nvSpPr>
        <p:spPr bwMode="auto">
          <a:xfrm>
            <a:off x="6952982" y="5695944"/>
            <a:ext cx="1794661" cy="397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дина престанка рада блокова у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-out</a:t>
            </a:r>
            <a:r>
              <a:rPr kumimoji="0" lang="sr-Cyrl-R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ежиму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"/>
          <p:cNvSpPr txBox="1"/>
          <p:nvPr/>
        </p:nvSpPr>
        <p:spPr bwMode="auto">
          <a:xfrm>
            <a:off x="8759543" y="1623442"/>
            <a:ext cx="195788" cy="33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6952982" y="5145522"/>
            <a:ext cx="587365" cy="525123"/>
            <a:chOff x="6928318" y="5803893"/>
            <a:chExt cx="587365" cy="525123"/>
          </a:xfrm>
        </p:grpSpPr>
        <p:sp>
          <p:nvSpPr>
            <p:cNvPr id="13" name="Oval 12"/>
            <p:cNvSpPr/>
            <p:nvPr/>
          </p:nvSpPr>
          <p:spPr>
            <a:xfrm>
              <a:off x="6928318" y="5803893"/>
              <a:ext cx="326314" cy="262562"/>
            </a:xfrm>
            <a:prstGeom prst="ellipse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/>
            <p:cNvCxnSpPr>
              <a:stCxn id="13" idx="5"/>
            </p:cNvCxnSpPr>
            <p:nvPr/>
          </p:nvCxnSpPr>
          <p:spPr>
            <a:xfrm>
              <a:off x="7206844" y="6028004"/>
              <a:ext cx="308839" cy="30101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" name="Straight Connector 2"/>
          <p:cNvCxnSpPr/>
          <p:nvPr/>
        </p:nvCxnSpPr>
        <p:spPr>
          <a:xfrm>
            <a:off x="5626555" y="1944029"/>
            <a:ext cx="0" cy="3335847"/>
          </a:xfrm>
          <a:prstGeom prst="line">
            <a:avLst/>
          </a:prstGeom>
          <a:ln w="15875">
            <a:solidFill>
              <a:srgbClr val="1F497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ight Arrow 3"/>
          <p:cNvSpPr/>
          <p:nvPr/>
        </p:nvSpPr>
        <p:spPr>
          <a:xfrm>
            <a:off x="5732846" y="1903179"/>
            <a:ext cx="261051" cy="1969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Left Arrow 7"/>
          <p:cNvSpPr/>
          <p:nvPr/>
        </p:nvSpPr>
        <p:spPr>
          <a:xfrm>
            <a:off x="5268570" y="1914848"/>
            <a:ext cx="261051" cy="19692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4294717" y="1831835"/>
            <a:ext cx="1104379" cy="28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92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тварење</a:t>
            </a:r>
            <a:endParaRPr kumimoji="0" lang="en-US" sz="1292" b="0" i="0" u="none" strike="noStrike" kern="1200" cap="none" spc="0" normalizeH="0" baseline="0" noProof="0" dirty="0">
              <a:ln>
                <a:noFill/>
              </a:ln>
              <a:solidFill>
                <a:srgbClr val="366092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 bwMode="auto">
          <a:xfrm>
            <a:off x="5954903" y="1833980"/>
            <a:ext cx="998079" cy="28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292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јекција</a:t>
            </a:r>
            <a:endParaRPr kumimoji="0" lang="en-US" sz="1292" b="0" i="0" u="none" strike="noStrike" kern="1200" cap="none" spc="0" normalizeH="0" baseline="0" noProof="0" dirty="0">
              <a:ln>
                <a:noFill/>
              </a:ln>
              <a:solidFill>
                <a:srgbClr val="366092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"/>
          <p:cNvSpPr txBox="1"/>
          <p:nvPr/>
        </p:nvSpPr>
        <p:spPr bwMode="auto">
          <a:xfrm>
            <a:off x="0" y="1538839"/>
            <a:ext cx="585183" cy="33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л. </a:t>
            </a:r>
            <a:r>
              <a:rPr kumimoji="0" lang="sr-Cyrl-R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вр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3209973" y="10313981"/>
            <a:ext cx="1280332" cy="211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шкасте материје</a:t>
            </a:r>
            <a:endParaRPr kumimoji="0" lang="sr-Latn-RS" sz="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189991" y="10398078"/>
            <a:ext cx="35431" cy="35371"/>
          </a:xfrm>
          <a:prstGeom prst="rect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918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38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7" name="Chart 16"/>
          <p:cNvGraphicFramePr>
            <a:graphicFrameLocks/>
          </p:cNvGraphicFramePr>
          <p:nvPr>
            <p:extLst/>
          </p:nvPr>
        </p:nvGraphicFramePr>
        <p:xfrm>
          <a:off x="-82318" y="1599219"/>
          <a:ext cx="8983744" cy="3957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251520" y="1492913"/>
            <a:ext cx="8949724" cy="3999312"/>
            <a:chOff x="251520" y="2012701"/>
            <a:chExt cx="8949724" cy="3671921"/>
          </a:xfrm>
        </p:grpSpPr>
        <p:graphicFrame>
          <p:nvGraphicFramePr>
            <p:cNvPr id="20" name="Chart 19"/>
            <p:cNvGraphicFramePr>
              <a:graphicFrameLocks/>
            </p:cNvGraphicFramePr>
            <p:nvPr>
              <p:extLst/>
            </p:nvPr>
          </p:nvGraphicFramePr>
          <p:xfrm>
            <a:off x="251520" y="2012701"/>
            <a:ext cx="8949724" cy="33589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19" name="TextBox 18"/>
            <p:cNvSpPr txBox="1"/>
            <p:nvPr/>
          </p:nvSpPr>
          <p:spPr bwMode="auto">
            <a:xfrm>
              <a:off x="5071238" y="5438401"/>
              <a:ext cx="61653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Ox</a:t>
              </a:r>
              <a:endParaRPr kumimoji="0" lang="sr-Latn-R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033583" y="5555557"/>
              <a:ext cx="65682" cy="41976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r-Latn-R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itle 2"/>
          <p:cNvSpPr txBox="1">
            <a:spLocks/>
          </p:cNvSpPr>
          <p:nvPr/>
        </p:nvSpPr>
        <p:spPr bwMode="auto">
          <a:xfrm>
            <a:off x="0" y="100525"/>
            <a:ext cx="8271803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NOx</a:t>
            </a:r>
            <a:r>
              <a:rPr kumimoji="0" lang="sr-Latn-RS" alt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и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инвестиције у </a:t>
            </a: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денитрификацију</a:t>
            </a:r>
            <a:r>
              <a:rPr kumimoji="0" lang="sr-Latn-RS" altLang="en-US" sz="24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Latn-RS" altLang="en-US" sz="2400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5" name="TextBox 1"/>
          <p:cNvSpPr txBox="1"/>
          <p:nvPr/>
        </p:nvSpPr>
        <p:spPr bwMode="auto">
          <a:xfrm>
            <a:off x="8801722" y="1255977"/>
            <a:ext cx="199407" cy="34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</a:t>
            </a:r>
          </a:p>
        </p:txBody>
      </p:sp>
      <p:sp>
        <p:nvSpPr>
          <p:cNvPr id="18" name="TextBox 1"/>
          <p:cNvSpPr txBox="1"/>
          <p:nvPr/>
        </p:nvSpPr>
        <p:spPr bwMode="auto">
          <a:xfrm>
            <a:off x="52113" y="1634339"/>
            <a:ext cx="199407" cy="34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indent="0" defTabSz="844083" fontAlgn="base">
              <a:spcBef>
                <a:spcPct val="0"/>
              </a:spcBef>
              <a:spcAft>
                <a:spcPct val="0"/>
              </a:spcAft>
              <a:defRPr sz="1015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л. евра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7042127" y="5038147"/>
            <a:ext cx="332345" cy="265876"/>
          </a:xfrm>
          <a:prstGeom prst="ellips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Straight Arrow Connector 13"/>
          <p:cNvCxnSpPr>
            <a:stCxn id="13" idx="5"/>
          </p:cNvCxnSpPr>
          <p:nvPr/>
        </p:nvCxnSpPr>
        <p:spPr>
          <a:xfrm>
            <a:off x="7325801" y="5265087"/>
            <a:ext cx="314547" cy="3048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 bwMode="auto">
          <a:xfrm>
            <a:off x="7208299" y="5555788"/>
            <a:ext cx="1794661" cy="397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defRPr sz="1015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дина престанка рада блокова у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-out</a:t>
            </a:r>
            <a:r>
              <a:rPr kumimoji="0" lang="sr-Cyrl-RS" sz="1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ежиму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5725425" y="1889194"/>
            <a:ext cx="0" cy="3377960"/>
          </a:xfrm>
          <a:prstGeom prst="line">
            <a:avLst/>
          </a:prstGeom>
          <a:ln w="15875">
            <a:solidFill>
              <a:srgbClr val="1F497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4450410" y="1805960"/>
            <a:ext cx="2550030" cy="284067"/>
            <a:chOff x="4294066" y="1978656"/>
            <a:chExt cx="2550030" cy="284067"/>
          </a:xfrm>
        </p:grpSpPr>
        <p:sp>
          <p:nvSpPr>
            <p:cNvPr id="4" name="Right Arrow 3"/>
            <p:cNvSpPr/>
            <p:nvPr/>
          </p:nvSpPr>
          <p:spPr>
            <a:xfrm>
              <a:off x="5635503" y="2020986"/>
              <a:ext cx="265876" cy="199407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0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Left Arrow 7"/>
            <p:cNvSpPr/>
            <p:nvPr/>
          </p:nvSpPr>
          <p:spPr>
            <a:xfrm>
              <a:off x="5227894" y="2020986"/>
              <a:ext cx="265876" cy="199407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0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 bwMode="auto">
            <a:xfrm>
              <a:off x="4294066" y="1978656"/>
              <a:ext cx="1006972" cy="2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8440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92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стварење</a:t>
              </a:r>
              <a:endParaRPr kumimoji="0" lang="en-US" sz="1292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 bwMode="auto">
            <a:xfrm>
              <a:off x="5884958" y="1978656"/>
              <a:ext cx="959138" cy="2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8440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92" b="0" i="0" u="none" strike="noStrike" kern="1200" cap="none" spc="0" normalizeH="0" baseline="0" noProof="0" dirty="0">
                  <a:ln>
                    <a:noFill/>
                  </a:ln>
                  <a:solidFill>
                    <a:srgbClr val="366092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ојекција</a:t>
              </a:r>
              <a:endParaRPr kumimoji="0" lang="en-US" sz="1292" b="0" i="0" u="none" strike="noStrike" kern="1200" cap="none" spc="0" normalizeH="0" baseline="0" noProof="0" dirty="0">
                <a:ln>
                  <a:noFill/>
                </a:ln>
                <a:solidFill>
                  <a:srgbClr val="366092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9495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8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-21470" y="1614770"/>
            <a:ext cx="9192509" cy="4736708"/>
            <a:chOff x="-21470" y="1614770"/>
            <a:chExt cx="9192509" cy="4736708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5550660" y="1958012"/>
              <a:ext cx="11154" cy="4004029"/>
            </a:xfrm>
            <a:prstGeom prst="line">
              <a:avLst/>
            </a:prstGeom>
            <a:ln w="15875">
              <a:solidFill>
                <a:srgbClr val="1F497D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ight Arrow 3"/>
            <p:cNvSpPr/>
            <p:nvPr/>
          </p:nvSpPr>
          <p:spPr>
            <a:xfrm>
              <a:off x="5635503" y="2020986"/>
              <a:ext cx="265876" cy="199407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Left Arrow 7"/>
            <p:cNvSpPr/>
            <p:nvPr/>
          </p:nvSpPr>
          <p:spPr>
            <a:xfrm>
              <a:off x="5227894" y="2020986"/>
              <a:ext cx="265876" cy="199407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 bwMode="auto">
            <a:xfrm>
              <a:off x="4306125" y="1959606"/>
              <a:ext cx="1006972" cy="2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92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192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стварење</a:t>
              </a:r>
              <a:endParaRPr kumimoji="0" lang="en-US" sz="1292" b="0" i="0" u="none" strike="noStrike" kern="1200" cap="none" spc="0" normalizeH="0" baseline="0" noProof="0" dirty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 bwMode="auto">
            <a:xfrm>
              <a:off x="5884957" y="1959606"/>
              <a:ext cx="959138" cy="284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84406" tIns="42203" rIns="84406" bIns="42203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92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192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ојекција</a:t>
              </a:r>
              <a:endParaRPr kumimoji="0" lang="en-US" sz="1292" b="0" i="0" u="none" strike="noStrike" kern="1200" cap="none" spc="0" normalizeH="0" baseline="0" noProof="0" dirty="0">
                <a:ln>
                  <a:noFill/>
                </a:ln>
                <a:solidFill>
                  <a:srgbClr val="00319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-21470" y="1614770"/>
              <a:ext cx="9192509" cy="4736708"/>
              <a:chOff x="-21470" y="1614770"/>
              <a:chExt cx="9192509" cy="4736708"/>
            </a:xfrm>
          </p:grpSpPr>
          <p:grpSp>
            <p:nvGrpSpPr>
              <p:cNvPr id="2" name="Group 1"/>
              <p:cNvGrpSpPr/>
              <p:nvPr/>
            </p:nvGrpSpPr>
            <p:grpSpPr>
              <a:xfrm>
                <a:off x="6844095" y="5412520"/>
                <a:ext cx="2326944" cy="938958"/>
                <a:chOff x="6846299" y="5516215"/>
                <a:chExt cx="2326944" cy="938958"/>
              </a:xfrm>
            </p:grpSpPr>
            <p:sp>
              <p:nvSpPr>
                <p:cNvPr id="13" name="Oval 12"/>
                <p:cNvSpPr/>
                <p:nvPr/>
              </p:nvSpPr>
              <p:spPr>
                <a:xfrm>
                  <a:off x="6846299" y="5516215"/>
                  <a:ext cx="332345" cy="265876"/>
                </a:xfrm>
                <a:prstGeom prst="ellipse">
                  <a:avLst/>
                </a:prstGeom>
                <a:noFill/>
                <a:ln w="952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cxnSp>
              <p:nvCxnSpPr>
                <p:cNvPr id="14" name="Straight Arrow Connector 13"/>
                <p:cNvCxnSpPr>
                  <a:stCxn id="13" idx="5"/>
                </p:cNvCxnSpPr>
                <p:nvPr/>
              </p:nvCxnSpPr>
              <p:spPr>
                <a:xfrm>
                  <a:off x="7129973" y="5743155"/>
                  <a:ext cx="314547" cy="30481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" name="TextBox 15"/>
                <p:cNvSpPr txBox="1"/>
                <p:nvPr/>
              </p:nvSpPr>
              <p:spPr bwMode="auto">
                <a:xfrm>
                  <a:off x="7378582" y="6057550"/>
                  <a:ext cx="1794661" cy="3976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4406" tIns="42203" rIns="84406" bIns="42203" numCol="1" rtlCol="0" anchor="ctr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>
                    <a:defRPr sz="1015"/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r-Cyrl-R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Година престанка рада блокова у 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opt-out</a:t>
                  </a:r>
                  <a:r>
                    <a:rPr kumimoji="0" lang="sr-Cyrl-R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режиму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aphicFrame>
            <p:nvGraphicFramePr>
              <p:cNvPr id="15" name="Chart 14"/>
              <p:cNvGraphicFramePr>
                <a:graphicFrameLocks/>
              </p:cNvGraphicFramePr>
              <p:nvPr>
                <p:extLst/>
              </p:nvPr>
            </p:nvGraphicFramePr>
            <p:xfrm>
              <a:off x="-21470" y="2101639"/>
              <a:ext cx="8655190" cy="386040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sp>
            <p:nvSpPr>
              <p:cNvPr id="10" name="Rectangle 9"/>
              <p:cNvSpPr/>
              <p:nvPr/>
            </p:nvSpPr>
            <p:spPr>
              <a:xfrm>
                <a:off x="1645794" y="1614770"/>
                <a:ext cx="632763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b="0" i="0" u="none" strike="noStrike" kern="1200" spc="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O</a:t>
                </a:r>
                <a:r>
                  <a:rPr kumimoji="0" lang="en-US" sz="14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</a:t>
                </a:r>
                <a:r>
                  <a:rPr kumimoji="0" lang="sr-Latn-R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- </a:t>
                </a:r>
                <a:r>
                  <a:rPr kumimoji="0" lang="sr-Cyrl-R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емисија и инвестиције у одсумпоравање ТЕ на угаљ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  <a:r>
                  <a:rPr kumimoji="0" lang="sr-Cyrl-R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ЈП ЕПС-а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Box 1"/>
              <p:cNvSpPr txBox="1"/>
              <p:nvPr/>
            </p:nvSpPr>
            <p:spPr bwMode="auto">
              <a:xfrm>
                <a:off x="0" y="1614770"/>
                <a:ext cx="595999" cy="343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84406" tIns="42203" rIns="84406" bIns="42203" numCol="1" rtlCol="0" anchor="ctr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440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r-Cyrl-RS" sz="101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ил. </a:t>
                </a:r>
                <a:r>
                  <a:rPr kumimoji="0" lang="sr-Cyrl-RS" sz="1015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евра</a:t>
                </a:r>
                <a:endParaRPr kumimoji="0" lang="en-US" sz="1015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aphicFrame>
        <p:nvGraphicFramePr>
          <p:cNvPr id="22" name="Chart 21"/>
          <p:cNvGraphicFramePr>
            <a:graphicFrameLocks/>
          </p:cNvGraphicFramePr>
          <p:nvPr>
            <p:extLst/>
          </p:nvPr>
        </p:nvGraphicFramePr>
        <p:xfrm>
          <a:off x="114363" y="2135705"/>
          <a:ext cx="9029637" cy="3454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0" y="110050"/>
            <a:ext cx="8271803" cy="709012"/>
          </a:xfrm>
          <a:prstGeom prst="rect">
            <a:avLst/>
          </a:prstGeom>
          <a:solidFill>
            <a:srgbClr val="003192">
              <a:alpha val="0"/>
            </a:srgbClr>
          </a:solidFill>
          <a:ln>
            <a:solidFill>
              <a:srgbClr val="000596">
                <a:alpha val="0"/>
              </a:srgbClr>
            </a:solidFill>
            <a:miter lim="800000"/>
            <a:headEnd/>
            <a:tailEnd/>
          </a:ln>
          <a:extLst/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33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95285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90570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485854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981139" algn="l" rtl="0" fontAlgn="base">
              <a:spcBef>
                <a:spcPct val="0"/>
              </a:spcBef>
              <a:spcAft>
                <a:spcPct val="0"/>
              </a:spcAft>
              <a:defRPr sz="3033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511"/>
              </a:spcBef>
              <a:spcAft>
                <a:spcPts val="511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Емисија</a:t>
            </a:r>
            <a:r>
              <a:rPr kumimoji="0" lang="sr-Latn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 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O</a:t>
            </a:r>
            <a:r>
              <a:rPr kumimoji="0" lang="sr-Latn-RS" alt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2 </a:t>
            </a:r>
            <a:r>
              <a:rPr kumimoji="0" lang="sr-Latn-R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sr-Cyrl-R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и инвестиције у одсумпоравање </a:t>
            </a:r>
            <a:r>
              <a:rPr kumimoji="0" lang="sr-Latn-RS" altLang="en-US" sz="24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endParaRPr kumimoji="0" lang="sr-Latn-RS" altLang="en-US" sz="2400" b="0" i="0" u="none" strike="noStrike" kern="1200" cap="none" spc="0" normalizeH="0" baseline="-25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 bwMode="auto">
          <a:xfrm>
            <a:off x="4863674" y="5666530"/>
            <a:ext cx="6165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</a:t>
            </a:r>
            <a:r>
              <a:rPr kumimoji="0" lang="en-GB" sz="1000" b="0" i="0" u="none" strike="noStrike" kern="1200" cap="none" spc="0" normalizeH="0" baseline="-2500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sr-Latn-RS" sz="1000" b="0" i="0" u="none" strike="noStrike" kern="1200" cap="none" spc="0" normalizeH="0" baseline="-2500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837129" y="5765345"/>
            <a:ext cx="72000" cy="48592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1"/>
          <p:cNvSpPr txBox="1"/>
          <p:nvPr/>
        </p:nvSpPr>
        <p:spPr bwMode="auto">
          <a:xfrm>
            <a:off x="8743246" y="1681281"/>
            <a:ext cx="199407" cy="34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84406" tIns="42203" rIns="84406" bIns="42203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90564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  <p:bldP spid="24" grpId="0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F&quot; g=&quot;C0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gkq_GESSM_uox3nQV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dw8iOjQbCbFw_lVzaAj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dYvEITR0.dywdyFmupO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SI_ML_LsrW3lvihNb_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WPx8vTOGxP2BP98K4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wSlqKDTTGmmnTYf56o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_c.QDMyxHu5iDrLLcl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zsV1vJQ4e8dL150QjL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ksDR_Vblh61dbfPYsB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zZD8zjSi2SEijvKJ1sM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XHLlGDdGle8FhX5Cz9V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5.hvx53L3V3g6rKvJIA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9E67eTHWhWqrkKa8y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uFhMvSuGmcZGZWMeb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UJPBjMTq6YLDqZi9yb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7PsQCASnmGXmQ7653d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U0FFVSWALW55twhqzvO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IS6GnFRkyenzTB_JWKv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mmo3kYS7aK8AIdohIg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25IzqSWKVXs_TYghmP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Ied4XKKsr15XpOjWnF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Gn_4xPdVWyIDBnaGJ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cBMZ7PTni7tjbrIYrKa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MwsL5KViFfqbkyxcU69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hLDCsmgMT4FjScN4L_I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M352LRsWFX19GkMto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BKJZj5TS66Jqq8fTkr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Oje8NRRkObYX.kALRr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4d4j8Ebxvrf9c74TcR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mcUQhE4AJzUvV5WQEVn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rhbe.mQtuvyKndI_J3.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NvON0mS5a4cYvgPuzuA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MnopRV5fAC1vxQeXGJ7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kR09AScO8TkH5N9B.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vqvU40TeSkgaJMf7VPp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reNnxnRdS1MFd2vbuK8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ZqZyhTiikefYHVOxes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9yYj7gRHmjAdJySptx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ZLIV9YzNBYfzhZgq3u5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19.5_88M7SWKBNjNRh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Kuo90MkNfIfOl_6QlD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PBmi9NaSwYBe.7QQAD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Hf7YBKOCEqxv06FvSD3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LuDbcSmi.CUjfVHGB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OZajJKSTufiiG2cftEx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.DlkQIRkC5Qz6x9IVRp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ObiKmlTiaZv4wpkpVQY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WvZRTAqtMyPBr6RFH1l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ugeev0CGL2DHXS9kkgR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CE9QbmmCkBiW.ajQ0N9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7jGkTmwHf8Qt9rYkIl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s1D5eF6yoktImq6CS5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QNFmkDUAoXIm35G3F8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bI9g.y6oqm5SK25dkj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EOSC3NKKw.kIR87rgpj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RsLVa3wKqw3s61Q4ju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34S59yjCoIJkezvbb6q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I9wzmSzLYDbvBT2NTa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5vBwyRCTKpc.i7H5N90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uVm_QK18VLLN83lYvP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SKVbzjP9cHj6S1ABo_D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_RKKYzOaDkgk4jGMaI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ibnt.TYLdQ2hyZ5Y36J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OiPiiu_2GZRmcrW2a3d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L4YAPlVpDPuLg5nM48w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8FYVtaCCwAKX2feLETs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eIVf2Z3T5lNMICOlCiO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g.tJXLhspj64oW7kW7s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sLCZNVF.aV2spoAeX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QqNAk7E1E21Nk99AVUL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4iMF649TjUrqupwB0t7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8LHgbFXGbUt041rxU7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NycPE8GeNf0zXjs5sv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FKiubc9BDcNNd9um7Ie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Kmc_bCrhKGLww5mK0RX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RbLyJ1uhSEwQxMcPz3u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cff5PfjWz5u3ndVT8l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4SQQ7FZm9SW0hnjgbKz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87FaeRRgUu8BKuFy1PO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uyM_xEw276y6q3Zt2Z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0YyG16pneKmmnfXeFnn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iiaLoDE4YaK_4ImHP2G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kL5_GiV1IqqtH7LC4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qdCl_fJmCtMvXy0XRF9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YngtoN69muBjJuAkHT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0tYANCWFQRXEx8ZaJeg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8LUjLaLA8nHQgaHmpn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SuQ9qTuv.HpILYNi7DO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YVzlcNN5FJO6FJFTx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c0ArLfhQ5n7bv3h7yq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GE3hUWS06jvAiKIehGg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rb4qaRByn9E.szmxF92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MoP3CtTLKS4.RHQ143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bxhBWYoey2NViZOkir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bbJRtGNWNgMiUUh89p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tGhJWGrVEfIpNDCD5i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8FE9oDNg1zPSvJsb2f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HfbuvjsRaTfQRBgHLjT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wXRt9cJdkOryYXU3nxS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.Xa.6lCtVQrQ55lwH2B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jLFvY4QM0Uy08Lp8MM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OcjgKF7NtKLv33Skhg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Be1m1gkVmzyScdKQ1Yn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pGk8Hk_nQJaiL4_Lsa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3Re7uHgY1.b5AUW.n9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eLaG2aS85Y5yJ..9C28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YS481QGxbmE8qy_lBE6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8Rdk_C9om0p0029MUK0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qFjWGuKQO7MBwgKNXp_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680vswcpt9ohntDgBa0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RuQuEWuplE3MeWJf1hi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9qP2LE47xPgEGq9FMXB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Pi2zsuqT2e.iJIL6sDp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vKP5xtfv0eBzQQzZl0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8OgHVJpy1F4sSoa8Oho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JFqhXkcBNVEA5sf.MS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r3zNdmlr2RGhT._Ulz8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my5EXyPvpD4aNi3WLgs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zkzhAPOUUmgd28VDDSX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FHKMWHfCYZdthB3SK5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bsl5zWLwMleLP1WpwqO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GYofr25HtS6TdZsdPi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lJHqP5wW3AmXi23Qc9K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go8mZBDl07JuHyxHB3I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jMZ8mhC0ZUmq2CX7Tb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yAW0_bfeq0830s4OrJH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Hey9U8DSlWSHZ648Ny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ee0XDkkSL6OVwa2qde1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LgX4UTqeyD8oPNBInP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ZeNpVg0f.f9CiqJZB.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nB7cRncWQJ_6l8CXPI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EnrVCKMvIqQr2HugMI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NBI3e28aMdeY4VPdbq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9YYosAFP1Ng8Te3OlGc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Ks33mfQQ2xceOBPKqW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O9OVXHtzFr_qmnJ6tM0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QaZBvEh3UMdXK20TrwI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MPLe4t3eW1h0r14.1B6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.nv9_sjh8srivSyGbEr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8zNUVUmPGSz7bMmGHm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GYkMspShz9aShCfm_Zr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lgjw94nKytiX4048Cr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TyvTA_ql4BDl7yCQK9S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LxYJxkzlDPIXYRR8NHp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pzBvSNQ6lz9mQoFCTgO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fledQmKxWmMHcPTMcYG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4wTDEAxgw8joKqwxOW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31jvdEnzPxGqjPQ4xoq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m95uYF.b9C30GsUljc5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JTw7vICf3Z_PCO5ogJy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SJRRUojUWt_MrsuSK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KMcSrKdanNcpKI7_xFf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zGqru5qU.Y7Y_bjZk0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zEk986aBO7u0pTm3l1z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puMm_UjSh6PzAWBIPqW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QDvs94xVCts87OvVIJ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AAqtfpHrffMTcIcp2M2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XHt0IiKmHHcG.oELsA0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764AUz..hx6pgJpPvX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ehvi_uBOPz3eDGmJsOb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icCNvX5TBtGzfG45Fr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CndKFle5rmAQHLkWNt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VDV1wDwydEgd.rbRg4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lTQBCGEdG6LirupxNh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BrJFBNzkNqNb_u8lxNY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skKLSwJOvS0RL.HkFh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hncdkFy7z70pOsYl9ec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u2OX9UhELZOYG2pADtY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_sKFm5HPk0KN8.yj71k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vOIZ6mfoIk46ZWS6Msz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M1PpanBSAZJjVy7qaOR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aXO9p7adGXbAjFIviV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902YkEYUGxFgxZN9Xt0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aadiKf1wpJv.0yW9Zj0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08fGjAFvUvGll6A7vRP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WfnIdFC_2_mIBOEB4RN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EWoy9KUc6usRqoQ..M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D4n5bRuHEpsj1z1Ikp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uT0UZELcgkr4cOz7fMV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whhb5q2WMcIKbOpOHSD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Sr8HH5Gr2VtEUsH3JPY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1LuROxwHZJkEsKy9zA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P_ZePHhE.PS28LUPk4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ikJI4V8pUma7KfcSCFW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8P_8TTi_PutAGkKdAJ_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BHukFihvkIdBEMVw4Om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3Yx0GpArfpe3abJDjlJ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5vSN75QHAUy_J6rXSfT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6koI80mQ1p87sEapzW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AF.uF46lSYWuhrRZO7G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xEjXVucuFy40JtkxXKN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B6wBCgJ8OTHDF6GqWPf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sX0to6fJEHP.a6cWNW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.en3LEAW6WOw7LecAZC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j5UYL8XNxJpybCPJ9p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HlsVfs4f14AUPAn6ID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au8T4LopqLYidckpnAU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JMq9bsadmqT3Vy5q8Bn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OpL8jdq7YeNW8C_Rdmj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zwYkx343m77BnlfBMV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Bfp9J3iMEYn5qWvm5gW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OcB1oz8JY7lyyT82jx1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jci5eyHJ2zUSeszrgi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0.nF6zHFDdM8lsFp48f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LRFj_8NgQ03vsRqBWSp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hfccDKUzFOb0qIxSjvY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nnkJjNSsMhtyb0EGzkm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byrB7AXQ_60ZlMjCxq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DiLxZM7ed2RnDmFKwYN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HLvK71e7CSOHtAaB8m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UklYM5VRoLU4UAnVb0K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OsX6YDie3dxCBt52Pu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AQ6sbBukaAwOp1btYv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1SuZqdIE9SCxfykEv5L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s.Vd8lJhqtK0REDHhOv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Gd06ndkgBzNFjOnqSrW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KoC1toIPFcaRPHdOd0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M4n5.0CbLXAWgYdtzM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j_eE.0jfhpLJcmtrNLz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sN6OcPn25mlft6HvpQ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3kLI7bC445VT415Q9ue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lL1FQWvRus_EDLmdDbR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mkLueE8_H77dDewkmG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tlgYqivfBQcZw7IKph7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cw4kV1DJ1aM181xwLU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mxlBcCsRzuYa5ndAGPz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wmBIYpiXDPYgwUwmy2l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gKhf3x0TyIH2si6JcB4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.jrMyhJIMmN6KphGjOk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.lBSJCoTcUGKaZGNfXw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1ICjucRSW4nsG0ZilqM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ScRl833d0ZOWSKmxhZ8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kPYv3g7Xb22GiORmAW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klQE_1yd._uEVbNbN__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22O3map1ecVhRwmHVbX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S0j82xFSSkUdYcA.UaZ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UYO08R_0nsoL8rZewr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pv5JzIYuZ1AqQXLnEz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JO2w_orcxZA.d1A7d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msi.IhhAKDwhlbv7v6Z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MEghNK3luqJznXqLjwW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3IHqOPbXDlBjga7cuIX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Cp6M35lzFl7Z3qGhsK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_OSbE8zOXdmBj39T5oJ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3ZjhBDtW1qfAqjFxL9p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QDc_8WXzUNrj4uqVAUD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CmJOq8AdIWC_Pu1X3V1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5eJDzzCOfyNuEIC8x6a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_hmys7aqi8ZZUg86teK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dp7cCdY.eJOMwaVL.xU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JRNiBi0mWk27Co22NO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SAqeki3kgILLHO2dDh0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TZDheqeZmAdb9CNbcx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B5qoCXp15C163cNZXx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UtRDOEyooPB9ALIg8E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xj3uL5m0TkLXy6BHaHm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Yo3eJh.H1J4NFvegEdE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BOFJxXztKWxmCtzICtH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P7khD8i8R22OQKL36rd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cCCeslmsxPiqmyFZICN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w7NSpDitu8ufHJAV4s4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c.TYxGKoaMuSlw.X79H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kL8tzFEUd0W.Sm7TAgQ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QG31nTSv4q.QhB.O4I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vdEaZ4j08TOLMu8oy5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aVo6_m5erCiZxa5Bx_i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ewhmbtmTAm8IrkxZzCT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yK4K3pOKVjFBmRybEvK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oMEiTMOBYQBvIYLLJe9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xdM8zceX31_KiVtfJK7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PdA43SppmwPC.PLFBaA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mIzfoHhOhHoKsj1yXM3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uvmeYgbrxAfOAP15i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Q2XBDKTQH8FBZ6ZeLN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vDc42R.EbTys4qovP6M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Zo4bzsV.Rs.E0kxusue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ErXbibkr42IJesp6qrG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lIIm_t7v25ZJZTiJ5rs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OMCbYn2wnjWZ4jcP_yr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2UIKqnovm5FykA1_A3q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Jh2QYRd9Mgn2XXJhDL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a0n7G0PKl8uPKhSmYyh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.PxbO9HKM.ZMc773mkb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KuAabm1u90TJwqRJoc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v5PW897XQlfxlbDjy_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gUq2_7CZg1pdxm3wV4q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5AZSNrTCKIsfvhAFQr.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Jk.01c.2dUhkLSYfFA5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EjgE4b2GJbm0YxhTykf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voqhT11tPqSli8Y1Gz.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rX_mbJ_9tNleH8zRuyZ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ufBxtg3JDhNH07bh3st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hmoO95CnybOOkEptlEd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BiINR56jcNbFzdjkdU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_LfLcUgeiAb9JGzGmi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nBqzouMZUMka7b.gYj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AcQnPy3G7SDHbQXxKfH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yfQoBiFgNExcGun2b6L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a5dZf.WjGjGkFNxvF1H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4BPoVLTosrYIj0yf_pN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x9qTmD0Vlu5FVItj2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OHXz28fs_M4UzBM1Ii9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gDPQXcaqbPodIyUo5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PtYuLXo2WiTgwNwl1a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gDPQXcaqbPodIyUo5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tv5PW897XQlfxlbDjy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q7_y1p0uZzR9JTdxL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q7_y1p0uZzR9JTdxLH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q7_y1p0uZzR9JTdxL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yed0roamZLZWSop1sT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gDPQXcaqbPodIyUo5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bT8Iy9UWnQ3LOr0G.G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tq7_y1p0uZzR9JTdxLH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EdKrmzbFRCGIfHjFyF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zD_NQ2BUF57gPF2_gG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0XhMsUNchgB_H9_q9q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2Gyd57TqqwxTIfiKGv3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HgCGw8TiybHXQIf0tY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6f7F8FRJ6cBEzzy1dlG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9rgXbiRsSDYcLlztpN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TAtfdRTSy5AfMsGjV90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tgkq_GESSM_uox3nQVw"/>
</p:tagLst>
</file>

<file path=ppt/theme/theme1.xml><?xml version="1.0" encoding="utf-8"?>
<a:theme xmlns:a="http://schemas.openxmlformats.org/drawingml/2006/main" name="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10.xml><?xml version="1.0" encoding="utf-8"?>
<a:theme xmlns:a="http://schemas.openxmlformats.org/drawingml/2006/main" name="2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11.xml><?xml version="1.0" encoding="utf-8"?>
<a:theme xmlns:a="http://schemas.openxmlformats.org/drawingml/2006/main" name="7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 sz="2400" dirty="0" smtClean="0">
            <a:latin typeface="Arial Narrow" panose="020B0606020202030204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8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 sz="2400" dirty="0" smtClean="0">
            <a:latin typeface="Arial Narrow" panose="020B0606020202030204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9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 sz="2400" dirty="0" smtClean="0">
            <a:latin typeface="Arial Narrow" panose="020B0606020202030204" pitchFamily="34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10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1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 sz="2400" dirty="0" smtClean="0">
            <a:latin typeface="Arial Narrow" panose="020B0606020202030204" pitchFamily="34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3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4.xml><?xml version="1.0" encoding="utf-8"?>
<a:theme xmlns:a="http://schemas.openxmlformats.org/drawingml/2006/main" name="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EPS Design">
  <a:themeElements>
    <a:clrScheme name="EPS">
      <a:dk1>
        <a:srgbClr val="1F497D"/>
      </a:dk1>
      <a:lt1>
        <a:srgbClr val="FFFFFF"/>
      </a:lt1>
      <a:dk2>
        <a:srgbClr val="366092"/>
      </a:dk2>
      <a:lt2>
        <a:srgbClr val="E7E6E6"/>
      </a:lt2>
      <a:accent1>
        <a:srgbClr val="003278"/>
      </a:accent1>
      <a:accent2>
        <a:srgbClr val="4F81BD"/>
      </a:accent2>
      <a:accent3>
        <a:srgbClr val="D9D9D9"/>
      </a:accent3>
      <a:accent4>
        <a:srgbClr val="1F497D"/>
      </a:accent4>
      <a:accent5>
        <a:srgbClr val="5B9BD5"/>
      </a:accent5>
      <a:accent6>
        <a:srgbClr val="C0C0C0"/>
      </a:accent6>
      <a:hlink>
        <a:srgbClr val="D0D8E8"/>
      </a:hlink>
      <a:folHlink>
        <a:srgbClr val="C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012</TotalTime>
  <Words>1467</Words>
  <Application>Microsoft Office PowerPoint</Application>
  <PresentationFormat>On-screen Show (4:3)</PresentationFormat>
  <Paragraphs>417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41" baseType="lpstr">
      <vt:lpstr>宋体</vt:lpstr>
      <vt:lpstr>Arial</vt:lpstr>
      <vt:lpstr>Arial Narrow</vt:lpstr>
      <vt:lpstr>Calibri</vt:lpstr>
      <vt:lpstr>Calibri Light</vt:lpstr>
      <vt:lpstr>Courier New</vt:lpstr>
      <vt:lpstr>Times New Roman</vt:lpstr>
      <vt:lpstr>Wingdings</vt:lpstr>
      <vt:lpstr>Standard Theme</vt:lpstr>
      <vt:lpstr>2_EPS Design</vt:lpstr>
      <vt:lpstr>1_Standard Theme</vt:lpstr>
      <vt:lpstr>EPS Design</vt:lpstr>
      <vt:lpstr>1_EPS Design</vt:lpstr>
      <vt:lpstr>3_EPS Design</vt:lpstr>
      <vt:lpstr>4_EPS Design</vt:lpstr>
      <vt:lpstr>5_EPS Design</vt:lpstr>
      <vt:lpstr>6_EPS Design</vt:lpstr>
      <vt:lpstr>2_Standard Theme</vt:lpstr>
      <vt:lpstr>7_EPS Design</vt:lpstr>
      <vt:lpstr>8_EPS Design</vt:lpstr>
      <vt:lpstr>9_EPS Design</vt:lpstr>
      <vt:lpstr>10_EPS Design</vt:lpstr>
      <vt:lpstr>Office Theme</vt:lpstr>
      <vt:lpstr>11_EPS Design</vt:lpstr>
      <vt:lpstr>3_Standard Theme</vt:lpstr>
      <vt:lpstr>think-cell Slide</vt:lpstr>
      <vt:lpstr>Инвестиције и заштита животне средине -приоритети ЕПС-а- </vt:lpstr>
      <vt:lpstr>Стратешко опредељење и правац развоја</vt:lpstr>
      <vt:lpstr>Инвестициони план до 2027. (2019-2027)</vt:lpstr>
      <vt:lpstr>Инвестициони план до 2027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Смањење емисија из сектора производње електричне и топлотне енергије у појединим земљама</vt:lpstr>
      <vt:lpstr>Планови у области ЗЖС до 2032. године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ation steerco meeting  #1 Proposed Transformation governance/organization and first decisions August 24, 2015</dc:title>
  <dc:creator>Lakic Igor</dc:creator>
  <cp:lastModifiedBy>Vladica Lapčević</cp:lastModifiedBy>
  <cp:revision>400</cp:revision>
  <cp:lastPrinted>2019-10-14T13:10:44Z</cp:lastPrinted>
  <dcterms:created xsi:type="dcterms:W3CDTF">2015-09-15T14:48:04Z</dcterms:created>
  <dcterms:modified xsi:type="dcterms:W3CDTF">2019-10-28T07:1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ENC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  <property fmtid="{D5CDD505-2E9C-101B-9397-08002B2CF9AE}" pid="5" name="TitusGUID">
    <vt:lpwstr>5dc58919-0388-4910-8eb0-f87838e7c828</vt:lpwstr>
  </property>
</Properties>
</file>